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presentation.xml" ContentType="application/vnd.openxmlformats-officedocument.presentationml.presentation.main+xml"/>
  <Override PartName="/ppt/slides/slide24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1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20.xml" ContentType="application/vnd.openxmlformats-officedocument.presentationml.slide+xml"/>
  <Override PartName="/ppt/notesSlides/notesSlide24.xml" ContentType="application/vnd.openxmlformats-officedocument.presentationml.notesSlide+xml"/>
  <Override PartName="/ppt/notesSlides/notesSlide2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1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9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notesSlides/notesSlide18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33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12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notesSlides/notesSlide11.xml" ContentType="application/vnd.openxmlformats-officedocument.presentationml.notesSlide+xml"/>
  <Override PartName="/ppt/slideLayouts/slideLayout21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Layouts/slideLayout9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9.xml" ContentType="application/vnd.openxmlformats-officedocument.presentationml.notesSlide+xml"/>
  <Override PartName="/ppt/slideLayouts/slideLayout16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19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18.xml" ContentType="application/vnd.openxmlformats-officedocument.presentationml.slideLayout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72" r:id="rId1"/>
    <p:sldMasterId id="2147483698" r:id="rId2"/>
    <p:sldMasterId id="2147483711" r:id="rId3"/>
    <p:sldMasterId id="2147483730" r:id="rId4"/>
    <p:sldMasterId id="2147483753" r:id="rId5"/>
    <p:sldMasterId id="2147483763" r:id="rId6"/>
  </p:sldMasterIdLst>
  <p:notesMasterIdLst>
    <p:notesMasterId r:id="rId33"/>
  </p:notesMasterIdLst>
  <p:handoutMasterIdLst>
    <p:handoutMasterId r:id="rId34"/>
  </p:handoutMasterIdLst>
  <p:sldIdLst>
    <p:sldId id="1216" r:id="rId7"/>
    <p:sldId id="1254" r:id="rId8"/>
    <p:sldId id="1255" r:id="rId9"/>
    <p:sldId id="1220" r:id="rId10"/>
    <p:sldId id="1251" r:id="rId11"/>
    <p:sldId id="1256" r:id="rId12"/>
    <p:sldId id="1242" r:id="rId13"/>
    <p:sldId id="1257" r:id="rId14"/>
    <p:sldId id="1222" r:id="rId15"/>
    <p:sldId id="1224" r:id="rId16"/>
    <p:sldId id="1226" r:id="rId17"/>
    <p:sldId id="1258" r:id="rId18"/>
    <p:sldId id="1259" r:id="rId19"/>
    <p:sldId id="1229" r:id="rId20"/>
    <p:sldId id="1260" r:id="rId21"/>
    <p:sldId id="1261" r:id="rId22"/>
    <p:sldId id="1262" r:id="rId23"/>
    <p:sldId id="1227" r:id="rId24"/>
    <p:sldId id="1263" r:id="rId25"/>
    <p:sldId id="1265" r:id="rId26"/>
    <p:sldId id="1264" r:id="rId27"/>
    <p:sldId id="1266" r:id="rId28"/>
    <p:sldId id="1268" r:id="rId29"/>
    <p:sldId id="1267" r:id="rId30"/>
    <p:sldId id="1269" r:id="rId31"/>
    <p:sldId id="1270" r:id="rId32"/>
  </p:sldIdLst>
  <p:sldSz cx="9906000" cy="6858000" type="A4"/>
  <p:notesSz cx="6881813" cy="9296400"/>
  <p:custDataLst>
    <p:tags r:id="rId35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222">
          <p15:clr>
            <a:srgbClr val="A4A3A4"/>
          </p15:clr>
        </p15:guide>
        <p15:guide id="3" orient="horz" pos="4098">
          <p15:clr>
            <a:srgbClr val="A4A3A4"/>
          </p15:clr>
        </p15:guide>
        <p15:guide id="4" orient="horz" pos="1140">
          <p15:clr>
            <a:srgbClr val="A4A3A4"/>
          </p15:clr>
        </p15:guide>
        <p15:guide id="5" orient="horz" pos="3884">
          <p15:clr>
            <a:srgbClr val="A4A3A4"/>
          </p15:clr>
        </p15:guide>
        <p15:guide id="6" orient="horz" pos="3612">
          <p15:clr>
            <a:srgbClr val="A4A3A4"/>
          </p15:clr>
        </p15:guide>
        <p15:guide id="7" orient="horz" pos="576">
          <p15:clr>
            <a:srgbClr val="A4A3A4"/>
          </p15:clr>
        </p15:guide>
        <p15:guide id="8" pos="3761">
          <p15:clr>
            <a:srgbClr val="A4A3A4"/>
          </p15:clr>
        </p15:guide>
        <p15:guide id="9" pos="5935">
          <p15:clr>
            <a:srgbClr val="A4A3A4"/>
          </p15:clr>
        </p15:guide>
        <p15:guide id="10" pos="308">
          <p15:clr>
            <a:srgbClr val="A4A3A4"/>
          </p15:clr>
        </p15:guide>
        <p15:guide id="11" pos="2243">
          <p15:clr>
            <a:srgbClr val="A4A3A4"/>
          </p15:clr>
        </p15:guide>
        <p15:guide id="12" pos="2334">
          <p15:clr>
            <a:srgbClr val="A4A3A4"/>
          </p15:clr>
        </p15:guide>
        <p15:guide id="13" pos="37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003399"/>
    <a:srgbClr val="CC3300"/>
    <a:srgbClr val="0000FF"/>
    <a:srgbClr val="6666FF"/>
    <a:srgbClr val="99CCFF"/>
    <a:srgbClr val="CC00CC"/>
    <a:srgbClr val="006600"/>
    <a:srgbClr val="FFC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2833802-FEF1-4C79-8D5D-14CF1EAF98D9}" styleName="Style léger 2 - Accentuation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6D9F66E-5EB9-4882-86FB-DCBF35E3C3E4}" styleName="Style moyen 4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e léger 3 - Accentuation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15" autoAdjust="0"/>
    <p:restoredTop sz="83741" autoAdjust="0"/>
  </p:normalViewPr>
  <p:slideViewPr>
    <p:cSldViewPr showGuides="1">
      <p:cViewPr varScale="1">
        <p:scale>
          <a:sx n="88" d="100"/>
          <a:sy n="88" d="100"/>
        </p:scale>
        <p:origin x="1020" y="84"/>
      </p:cViewPr>
      <p:guideLst>
        <p:guide orient="horz" pos="2160"/>
        <p:guide orient="horz" pos="222"/>
        <p:guide orient="horz" pos="4098"/>
        <p:guide orient="horz" pos="1140"/>
        <p:guide orient="horz" pos="3884"/>
        <p:guide orient="horz" pos="3612"/>
        <p:guide orient="horz" pos="576"/>
        <p:guide pos="3761"/>
        <p:guide pos="5935"/>
        <p:guide pos="308"/>
        <p:guide pos="2243"/>
        <p:guide pos="2334"/>
        <p:guide pos="37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1092"/>
    </p:cViewPr>
  </p:sorterViewPr>
  <p:notesViewPr>
    <p:cSldViewPr showGuides="1">
      <p:cViewPr varScale="1">
        <p:scale>
          <a:sx n="63" d="100"/>
          <a:sy n="63" d="100"/>
        </p:scale>
        <p:origin x="2694" y="72"/>
      </p:cViewPr>
      <p:guideLst>
        <p:guide orient="horz" pos="2928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7" y="18"/>
            <a:ext cx="2982601" cy="464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15" tIns="45609" rIns="91215" bIns="45609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endParaRPr lang="en-GB" altLang="fr-FR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9230" y="18"/>
            <a:ext cx="2982601" cy="464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15" tIns="45609" rIns="91215" bIns="45609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endParaRPr lang="en-GB" altLang="fr-FR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7" y="8831682"/>
            <a:ext cx="2982601" cy="464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15" tIns="45609" rIns="91215" bIns="45609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endParaRPr lang="en-GB" altLang="fr-FR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9230" y="8831682"/>
            <a:ext cx="2982601" cy="464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15" tIns="45609" rIns="91215" bIns="45609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14ED285A-6F36-4F95-96BA-2980C9BCF40A}" type="slidenum">
              <a:rPr lang="en-GB" altLang="fr-FR"/>
              <a:pPr/>
              <a:t>‹#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1111614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7" y="18"/>
            <a:ext cx="2982601" cy="464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15" tIns="45609" rIns="91215" bIns="45609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endParaRPr lang="en-GB" altLang="fr-FR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9230" y="18"/>
            <a:ext cx="2982601" cy="464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15" tIns="45609" rIns="91215" bIns="45609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endParaRPr lang="en-GB" altLang="fr-FR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5513" y="698500"/>
            <a:ext cx="5030787" cy="3482975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8229" y="4415853"/>
            <a:ext cx="5045379" cy="4182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15" tIns="45609" rIns="91215" bIns="456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quez pour modifier les styles du texte du masque</a:t>
            </a:r>
          </a:p>
          <a:p>
            <a:pPr lvl="1"/>
            <a:r>
              <a:rPr lang="en-GB" altLang="fr-FR"/>
              <a:t>Deuxième niveau</a:t>
            </a:r>
          </a:p>
          <a:p>
            <a:pPr lvl="2"/>
            <a:r>
              <a:rPr lang="en-GB" altLang="fr-FR"/>
              <a:t>Troisième niveau</a:t>
            </a:r>
          </a:p>
          <a:p>
            <a:pPr lvl="3"/>
            <a:r>
              <a:rPr lang="en-GB" altLang="fr-FR"/>
              <a:t>Quatrième niveau</a:t>
            </a:r>
          </a:p>
          <a:p>
            <a:pPr lvl="4"/>
            <a:r>
              <a:rPr lang="en-GB" altLang="fr-FR"/>
              <a:t>Cinquième niveau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" y="8831682"/>
            <a:ext cx="2982601" cy="464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15" tIns="45609" rIns="91215" bIns="45609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endParaRPr lang="en-GB" altLang="fr-FR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9230" y="8831682"/>
            <a:ext cx="2982601" cy="464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15" tIns="45609" rIns="91215" bIns="45609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14F2F64A-F4AF-4016-B1B5-75A29BE0267A}" type="slidenum">
              <a:rPr lang="en-GB" altLang="fr-FR"/>
              <a:pPr/>
              <a:t>‹#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162435473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1658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9206AA1-9EF6-4D25-AA3A-40E41CCBE1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8011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7472428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9223468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907748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D043A4D-9A8E-4E04-863D-FB6F714934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6982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D043A4D-9A8E-4E04-863D-FB6F714934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142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D043A4D-9A8E-4E04-863D-FB6F714934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6956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D043A4D-9A8E-4E04-863D-FB6F714934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2467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TextBox 3"/>
          <p:cNvSpPr txBox="1"/>
          <p:nvPr/>
        </p:nvSpPr>
        <p:spPr>
          <a:xfrm>
            <a:off x="3468823" y="1691897"/>
            <a:ext cx="1130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cogni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8698" y="184976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vest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2319" y="3144979"/>
            <a:ext cx="1109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portunity</a:t>
            </a:r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8701905E-002B-4482-AADC-E6278BCC5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3373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TextBox 3"/>
          <p:cNvSpPr txBox="1"/>
          <p:nvPr/>
        </p:nvSpPr>
        <p:spPr>
          <a:xfrm>
            <a:off x="3468823" y="1691897"/>
            <a:ext cx="1130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cogni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8698" y="184976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vest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2319" y="3144979"/>
            <a:ext cx="1109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portunity</a:t>
            </a:r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8701905E-002B-4482-AADC-E6278BCC5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1346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5513" y="698500"/>
            <a:ext cx="5030787" cy="3482975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2B2C1-196D-F243-820C-5ABEF60E6CA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90DD63E4-594C-487F-AAB4-5AAEE563EE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9079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TextBox 3"/>
          <p:cNvSpPr txBox="1"/>
          <p:nvPr/>
        </p:nvSpPr>
        <p:spPr>
          <a:xfrm>
            <a:off x="3468823" y="1691897"/>
            <a:ext cx="1130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cogni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8698" y="184976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vest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2319" y="3144979"/>
            <a:ext cx="1109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portunity</a:t>
            </a:r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8701905E-002B-4482-AADC-E6278BCC5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1811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TextBox 3"/>
          <p:cNvSpPr txBox="1"/>
          <p:nvPr/>
        </p:nvSpPr>
        <p:spPr>
          <a:xfrm>
            <a:off x="3468823" y="1691897"/>
            <a:ext cx="1130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cogni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8698" y="184976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vest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2319" y="3144979"/>
            <a:ext cx="1109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portunity</a:t>
            </a:r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8701905E-002B-4482-AADC-E6278BCC5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6445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TextBox 3"/>
          <p:cNvSpPr txBox="1"/>
          <p:nvPr/>
        </p:nvSpPr>
        <p:spPr>
          <a:xfrm>
            <a:off x="3468823" y="1691897"/>
            <a:ext cx="1130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cogni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8698" y="184976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vest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2319" y="3144979"/>
            <a:ext cx="1109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portunity</a:t>
            </a:r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8701905E-002B-4482-AADC-E6278BCC5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9353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TextBox 3"/>
          <p:cNvSpPr txBox="1"/>
          <p:nvPr/>
        </p:nvSpPr>
        <p:spPr>
          <a:xfrm>
            <a:off x="3468823" y="1691897"/>
            <a:ext cx="1130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cogni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8698" y="184976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vest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2319" y="3144979"/>
            <a:ext cx="1109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portunity</a:t>
            </a:r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8701905E-002B-4482-AADC-E6278BCC5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1957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TextBox 3"/>
          <p:cNvSpPr txBox="1"/>
          <p:nvPr/>
        </p:nvSpPr>
        <p:spPr>
          <a:xfrm>
            <a:off x="3468823" y="1691897"/>
            <a:ext cx="1130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cogni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8698" y="184976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vest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2319" y="3144979"/>
            <a:ext cx="1109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portunity</a:t>
            </a:r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8701905E-002B-4482-AADC-E6278BCC5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58999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TextBox 3"/>
          <p:cNvSpPr txBox="1"/>
          <p:nvPr/>
        </p:nvSpPr>
        <p:spPr>
          <a:xfrm>
            <a:off x="3468823" y="1691897"/>
            <a:ext cx="1130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cogni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8698" y="184976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vest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2319" y="3144979"/>
            <a:ext cx="1109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portunity</a:t>
            </a:r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8701905E-002B-4482-AADC-E6278BCC5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5387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TextBox 3"/>
          <p:cNvSpPr txBox="1"/>
          <p:nvPr/>
        </p:nvSpPr>
        <p:spPr>
          <a:xfrm>
            <a:off x="3468823" y="1691897"/>
            <a:ext cx="1130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cogni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8698" y="184976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vest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2319" y="3144979"/>
            <a:ext cx="1109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portunity</a:t>
            </a:r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8701905E-002B-4482-AADC-E6278BCC5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5182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5513" y="698500"/>
            <a:ext cx="5030787" cy="3482975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2B2C1-196D-F243-820C-5ABEF60E6CA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90DD63E4-594C-487F-AAB4-5AAEE563EE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061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CE9A4F0-E038-4D5B-85C8-7A386B1FE8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8138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5513" y="698500"/>
            <a:ext cx="5030787" cy="3482975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2B2C1-196D-F243-820C-5ABEF60E6CA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90DD63E4-594C-487F-AAB4-5AAEE563EE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7022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5513" y="698500"/>
            <a:ext cx="5030787" cy="3482975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2B2C1-196D-F243-820C-5ABEF60E6CA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90DD63E4-594C-487F-AAB4-5AAEE563EE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7889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5513" y="698500"/>
            <a:ext cx="5030787" cy="3482975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2B2C1-196D-F243-820C-5ABEF60E6CA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FB76D1A-C9D1-49FE-B494-402534E983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8774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5513" y="698500"/>
            <a:ext cx="5030787" cy="3482975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2B2C1-196D-F243-820C-5ABEF60E6CA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FB76D1A-C9D1-49FE-B494-402534E983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4486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9B95650-FB33-4507-96D3-7E5FA38BA7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698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w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w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w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w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w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wmf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25"/>
            <a:ext cx="9906000" cy="2679192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359" y="1115221"/>
            <a:ext cx="2142780" cy="847974"/>
          </a:xfrm>
          <a:prstGeom prst="rect">
            <a:avLst/>
          </a:prstGeom>
        </p:spPr>
      </p:pic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 bwMode="gray">
          <a:xfrm>
            <a:off x="459140" y="2613432"/>
            <a:ext cx="8970000" cy="553999"/>
          </a:xfrm>
          <a:noFill/>
        </p:spPr>
        <p:txBody>
          <a:bodyPr lIns="0" tIns="0" rIns="0" bIns="0">
            <a:spAutoFit/>
          </a:bodyPr>
          <a:lstStyle>
            <a:lvl1pPr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84981" y="3716710"/>
            <a:ext cx="8936038" cy="360363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fr-FR" sz="1600" b="0" kern="1200" smtClean="0">
                <a:solidFill>
                  <a:schemeClr val="tx2"/>
                </a:solidFill>
                <a:latin typeface="Arial" charset="0"/>
              </a:defRPr>
            </a:lvl1pPr>
            <a:lvl2pPr marL="190500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38187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92212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r>
              <a:rPr lang="fr-FR" altLang="fr-FR" dirty="0" err="1"/>
              <a:t>Month</a:t>
            </a:r>
            <a:r>
              <a:rPr lang="fr-FR" altLang="fr-FR" dirty="0"/>
              <a:t> XX, 2012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-1406977" y="369219"/>
            <a:ext cx="1296791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/>
            <a:r>
              <a:rPr lang="fr-FR" sz="1400" b="1" dirty="0"/>
              <a:t>REPLACE</a:t>
            </a:r>
            <a:r>
              <a:rPr lang="fr-FR" sz="1400" dirty="0"/>
              <a:t> </a:t>
            </a:r>
            <a:r>
              <a:rPr lang="fr-FR" sz="1400" b="1" dirty="0"/>
              <a:t>THE IMAGE: </a:t>
            </a:r>
          </a:p>
          <a:p>
            <a:pPr lvl="0" algn="r"/>
            <a:endParaRPr lang="fr-FR" sz="1400" b="1" dirty="0"/>
          </a:p>
          <a:p>
            <a:pPr lvl="0" algn="r"/>
            <a:r>
              <a:rPr lang="fr-FR" sz="1400" b="0" dirty="0"/>
              <a:t>Right  click &gt; </a:t>
            </a:r>
            <a:r>
              <a:rPr lang="fr-FR" sz="1400" b="0" i="1" dirty="0"/>
              <a:t>Background layout…</a:t>
            </a:r>
          </a:p>
          <a:p>
            <a:pPr lvl="0" algn="r"/>
            <a:endParaRPr lang="fr-FR" sz="1400" b="0" dirty="0"/>
          </a:p>
          <a:p>
            <a:pPr lvl="0" algn="r"/>
            <a:r>
              <a:rPr lang="fr-FR" sz="1400" b="0" dirty="0"/>
              <a:t>Select </a:t>
            </a:r>
            <a:r>
              <a:rPr lang="fr-FR" sz="1400" b="0" i="1" dirty="0"/>
              <a:t>Filling with image or texture</a:t>
            </a:r>
          </a:p>
          <a:p>
            <a:pPr lvl="0" algn="r"/>
            <a:endParaRPr lang="fr-FR" sz="1400" b="0" dirty="0"/>
          </a:p>
          <a:p>
            <a:pPr lvl="0" algn="r"/>
            <a:r>
              <a:rPr lang="fr-FR" sz="1400" b="0" i="1" dirty="0"/>
              <a:t>Insert from… File</a:t>
            </a:r>
            <a:r>
              <a:rPr lang="fr-FR" sz="1400" b="0" dirty="0"/>
              <a:t> button</a:t>
            </a:r>
          </a:p>
          <a:p>
            <a:pPr lvl="0" algn="r"/>
            <a:endParaRPr lang="fr-FR" sz="1400" b="0" dirty="0"/>
          </a:p>
          <a:p>
            <a:pPr lvl="0" algn="r"/>
            <a:r>
              <a:rPr lang="fr-FR" sz="1400" b="0" dirty="0"/>
              <a:t>Select your picture</a:t>
            </a:r>
          </a:p>
          <a:p>
            <a:pPr lvl="0" algn="r"/>
            <a:endParaRPr lang="fr-FR" sz="1400" b="0" dirty="0"/>
          </a:p>
          <a:p>
            <a:pPr lvl="0" algn="r"/>
            <a:r>
              <a:rPr lang="fr-FR" sz="1400" b="0" dirty="0"/>
              <a:t>Close window</a:t>
            </a:r>
          </a:p>
        </p:txBody>
      </p:sp>
      <p:sp>
        <p:nvSpPr>
          <p:cNvPr id="11" name="ZoneTexte 10"/>
          <p:cNvSpPr txBox="1"/>
          <p:nvPr userDrawn="1"/>
        </p:nvSpPr>
        <p:spPr>
          <a:xfrm>
            <a:off x="-1406977" y="5583907"/>
            <a:ext cx="1296791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/>
            <a:r>
              <a:rPr lang="fr-FR" sz="1400" b="1" dirty="0"/>
              <a:t>On a </a:t>
            </a:r>
            <a:r>
              <a:rPr lang="fr-FR" sz="1400" b="1" dirty="0" err="1"/>
              <a:t>dark</a:t>
            </a:r>
            <a:r>
              <a:rPr lang="fr-FR" sz="1400" b="1" dirty="0"/>
              <a:t> background </a:t>
            </a:r>
            <a:r>
              <a:rPr lang="fr-FR" sz="1400" b="1" dirty="0" err="1"/>
              <a:t>remove</a:t>
            </a:r>
            <a:r>
              <a:rPr lang="fr-FR" sz="1400" b="1" dirty="0"/>
              <a:t> the STOP Hunger </a:t>
            </a:r>
            <a:r>
              <a:rPr lang="fr-FR" sz="1400" b="1" dirty="0" err="1"/>
              <a:t>color</a:t>
            </a:r>
            <a:r>
              <a:rPr lang="fr-FR" sz="1400" b="1" dirty="0"/>
              <a:t> logo</a:t>
            </a:r>
            <a:endParaRPr lang="fr-FR" sz="1400" b="0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7" y="6029325"/>
            <a:ext cx="627900" cy="46704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&amp;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450527" y="1573240"/>
            <a:ext cx="9009000" cy="460851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b="0">
                <a:solidFill>
                  <a:schemeClr val="tx2"/>
                </a:solidFill>
              </a:defRPr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>
                <a:solidFill>
                  <a:schemeClr val="tx1"/>
                </a:solidFill>
              </a:defRPr>
            </a:lvl3pPr>
            <a:lvl4pPr marL="1616075" indent="-179388"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63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&amp;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450528" y="1573240"/>
            <a:ext cx="5126542" cy="460851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b="0">
                <a:solidFill>
                  <a:schemeClr val="tx2"/>
                </a:solidFill>
              </a:defRPr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>
                <a:solidFill>
                  <a:schemeClr val="tx1"/>
                </a:solidFill>
              </a:defRPr>
            </a:lvl3pPr>
            <a:lvl4pPr marL="1616075" indent="-179388"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>
          <a:xfrm>
            <a:off x="5971117" y="2838450"/>
            <a:ext cx="3449902" cy="3327400"/>
          </a:xfrm>
          <a:solidFill>
            <a:schemeClr val="bg2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lnSpc>
                <a:spcPct val="100000"/>
              </a:lnSpc>
              <a:buNone/>
              <a:defRPr lang="fr-FR" sz="2000" b="0" kern="1200" smtClean="0">
                <a:solidFill>
                  <a:schemeClr val="tx2"/>
                </a:solidFill>
                <a:latin typeface="Arial" charset="0"/>
              </a:defRPr>
            </a:lvl1pPr>
            <a:lvl2pPr marL="190500" indent="0" algn="ctr">
              <a:buNone/>
              <a:defRPr lang="fr-FR" sz="2000" b="0" kern="1200" smtClean="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algn="ctr">
              <a:defRPr lang="fr-FR" sz="2000" b="0" kern="1200" smtClean="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algn="ctr">
              <a:defRPr lang="fr-FR" sz="2000" b="0" kern="1200" smtClean="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algn="ctr">
              <a:defRPr lang="fr-FR" sz="2000" b="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fr-FR"/>
              <a:t>Modifiez les styles du texte du masque</a:t>
            </a:r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5971116" y="962024"/>
            <a:ext cx="3449902" cy="1819276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 bwMode="gray">
          <a:xfrm>
            <a:off x="484981" y="352425"/>
            <a:ext cx="8936038" cy="550508"/>
          </a:xfrm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1" name="ZoneTexte 10"/>
          <p:cNvSpPr txBox="1"/>
          <p:nvPr userDrawn="1"/>
        </p:nvSpPr>
        <p:spPr>
          <a:xfrm>
            <a:off x="9945554" y="701755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fr-FR" sz="1200" b="1" i="0" baseline="0" dirty="0">
                <a:solidFill>
                  <a:schemeClr val="tx1"/>
                </a:solidFill>
              </a:rPr>
              <a:t>TO</a:t>
            </a:r>
          </a:p>
          <a:p>
            <a:pPr lvl="0" algn="l"/>
            <a:r>
              <a:rPr lang="fr-FR" sz="1200" b="1" dirty="0">
                <a:solidFill>
                  <a:schemeClr val="tx1"/>
                </a:solidFill>
              </a:rPr>
              <a:t>REPLACE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br>
              <a:rPr lang="fr-FR" sz="1200" dirty="0">
                <a:solidFill>
                  <a:schemeClr val="tx1"/>
                </a:solidFill>
              </a:rPr>
            </a:br>
            <a:r>
              <a:rPr lang="fr-FR" sz="1200" dirty="0">
                <a:solidFill>
                  <a:schemeClr val="tx1"/>
                </a:solidFill>
              </a:rPr>
              <a:t>AN IMAGE: </a:t>
            </a:r>
            <a:r>
              <a:rPr lang="fr-FR" sz="1200" b="1" dirty="0">
                <a:solidFill>
                  <a:schemeClr val="tx1"/>
                </a:solidFill>
              </a:rPr>
              <a:t>Click on</a:t>
            </a:r>
            <a:r>
              <a:rPr lang="fr-FR" sz="1200" b="1" baseline="0" dirty="0">
                <a:solidFill>
                  <a:schemeClr val="tx1"/>
                </a:solidFill>
              </a:rPr>
              <a:t> the image and </a:t>
            </a:r>
            <a:r>
              <a:rPr lang="fr-FR" sz="1200" b="1" baseline="0" dirty="0" err="1">
                <a:solidFill>
                  <a:schemeClr val="tx1"/>
                </a:solidFill>
              </a:rPr>
              <a:t>delete</a:t>
            </a:r>
            <a:r>
              <a:rPr lang="fr-FR" sz="1200" b="1" baseline="0" dirty="0">
                <a:solidFill>
                  <a:schemeClr val="tx1"/>
                </a:solidFill>
              </a:rPr>
              <a:t> </a:t>
            </a:r>
          </a:p>
          <a:p>
            <a:pPr lvl="0" algn="l"/>
            <a:endParaRPr lang="fr-FR" sz="1200" b="1" baseline="0" dirty="0">
              <a:solidFill>
                <a:schemeClr val="tx1"/>
              </a:solidFill>
            </a:endParaRPr>
          </a:p>
          <a:p>
            <a:pPr lvl="0" algn="l"/>
            <a:r>
              <a:rPr lang="fr-FR" sz="1200" dirty="0" err="1">
                <a:solidFill>
                  <a:schemeClr val="tx1"/>
                </a:solidFill>
              </a:rPr>
              <a:t>then</a:t>
            </a:r>
            <a:r>
              <a:rPr lang="fr-FR" sz="1200" dirty="0">
                <a:solidFill>
                  <a:schemeClr val="tx1"/>
                </a:solidFill>
              </a:rPr>
              <a:t> click on the photo </a:t>
            </a:r>
            <a:r>
              <a:rPr lang="fr-FR" sz="1200" dirty="0" err="1">
                <a:solidFill>
                  <a:schemeClr val="tx1"/>
                </a:solidFill>
              </a:rPr>
              <a:t>icon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  <a:p>
            <a:pPr lvl="0" algn="l"/>
            <a:endParaRPr lang="fr-FR" sz="1200" dirty="0">
              <a:solidFill>
                <a:schemeClr val="tx1"/>
              </a:solidFill>
            </a:endParaRPr>
          </a:p>
          <a:p>
            <a:pPr lvl="0" algn="l"/>
            <a:r>
              <a:rPr lang="fr-FR" sz="1200" dirty="0">
                <a:solidFill>
                  <a:schemeClr val="tx1"/>
                </a:solidFill>
              </a:rPr>
              <a:t>Select your photo and</a:t>
            </a:r>
            <a:r>
              <a:rPr lang="fr-FR" sz="1200" baseline="0" dirty="0">
                <a:solidFill>
                  <a:schemeClr val="tx1"/>
                </a:solidFill>
              </a:rPr>
              <a:t> insert</a:t>
            </a:r>
          </a:p>
          <a:p>
            <a:pPr lvl="0" algn="l"/>
            <a:endParaRPr lang="fr-FR" sz="1200" baseline="0" dirty="0">
              <a:solidFill>
                <a:schemeClr val="tx1"/>
              </a:solidFill>
            </a:endParaRPr>
          </a:p>
          <a:p>
            <a:pPr lvl="0" algn="l"/>
            <a:r>
              <a:rPr lang="fr-FR" sz="1200" baseline="0" dirty="0" err="1">
                <a:solidFill>
                  <a:schemeClr val="tx1"/>
                </a:solidFill>
              </a:rPr>
              <a:t>Resize</a:t>
            </a:r>
            <a:r>
              <a:rPr lang="fr-FR" sz="1200" baseline="0" dirty="0">
                <a:solidFill>
                  <a:schemeClr val="tx1"/>
                </a:solidFill>
              </a:rPr>
              <a:t> photo if </a:t>
            </a:r>
            <a:r>
              <a:rPr lang="fr-FR" sz="1200" baseline="0" dirty="0" err="1">
                <a:solidFill>
                  <a:schemeClr val="tx1"/>
                </a:solidFill>
              </a:rPr>
              <a:t>needed</a:t>
            </a:r>
            <a:r>
              <a:rPr lang="fr-FR" sz="1200" baseline="0" dirty="0">
                <a:solidFill>
                  <a:schemeClr val="tx1"/>
                </a:solidFill>
              </a:rPr>
              <a:t> by </a:t>
            </a:r>
            <a:r>
              <a:rPr lang="fr-FR" sz="1200" baseline="0" dirty="0" err="1">
                <a:solidFill>
                  <a:schemeClr val="tx1"/>
                </a:solidFill>
              </a:rPr>
              <a:t>cropping</a:t>
            </a:r>
            <a:r>
              <a:rPr lang="fr-FR" sz="1200" baseline="0" dirty="0">
                <a:solidFill>
                  <a:schemeClr val="tx1"/>
                </a:solidFill>
              </a:rPr>
              <a:t> and </a:t>
            </a:r>
            <a:r>
              <a:rPr lang="fr-FR" sz="1200" baseline="0" dirty="0" err="1">
                <a:solidFill>
                  <a:schemeClr val="tx1"/>
                </a:solidFill>
              </a:rPr>
              <a:t>sliding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r>
              <a:rPr lang="fr-FR" sz="1200" baseline="0" dirty="0" err="1">
                <a:solidFill>
                  <a:schemeClr val="tx1"/>
                </a:solidFill>
              </a:rPr>
              <a:t>it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endParaRPr lang="fr-FR" sz="1200" dirty="0">
              <a:solidFill>
                <a:schemeClr val="tx1"/>
              </a:solidFill>
            </a:endParaRPr>
          </a:p>
          <a:p>
            <a:pPr algn="r"/>
            <a:endParaRPr lang="fr-FR" sz="1200" dirty="0">
              <a:solidFill>
                <a:schemeClr val="tx1"/>
              </a:solidFill>
            </a:endParaRPr>
          </a:p>
          <a:p>
            <a:pPr algn="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52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&amp;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EXT AND IMAGE WITH 1 LINE 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80" y="954156"/>
            <a:ext cx="2944500" cy="5202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26852" y="954155"/>
            <a:ext cx="5794166" cy="51912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Clr>
                <a:schemeClr val="accent1"/>
              </a:buClr>
              <a:defRPr lang="fr-FR" dirty="0" smtClean="0"/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lang="fr-FR" dirty="0" smtClean="0"/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 lang="fr-FR" dirty="0" smtClean="0"/>
            </a:lvl3pPr>
            <a:lvl4pPr marL="1616075" indent="-179388">
              <a:buClr>
                <a:schemeClr val="bg2"/>
              </a:buClr>
              <a:defRPr lang="fr-FR" dirty="0" smtClean="0"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9" name="ZoneTexte 8"/>
          <p:cNvSpPr txBox="1"/>
          <p:nvPr userDrawn="1"/>
        </p:nvSpPr>
        <p:spPr>
          <a:xfrm>
            <a:off x="-1287694" y="1872114"/>
            <a:ext cx="1208539" cy="31393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/>
            <a:r>
              <a:rPr lang="fr-FR" sz="1200" b="1" i="0" baseline="0" dirty="0">
                <a:solidFill>
                  <a:schemeClr val="tx1"/>
                </a:solidFill>
              </a:rPr>
              <a:t>TO</a:t>
            </a:r>
          </a:p>
          <a:p>
            <a:pPr lvl="0" algn="r"/>
            <a:r>
              <a:rPr lang="fr-FR" sz="1200" b="1" dirty="0">
                <a:solidFill>
                  <a:schemeClr val="tx1"/>
                </a:solidFill>
              </a:rPr>
              <a:t>REPLACE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br>
              <a:rPr lang="fr-FR" sz="1200" dirty="0">
                <a:solidFill>
                  <a:schemeClr val="tx1"/>
                </a:solidFill>
              </a:rPr>
            </a:br>
            <a:r>
              <a:rPr lang="fr-FR" sz="1200" dirty="0">
                <a:solidFill>
                  <a:schemeClr val="tx1"/>
                </a:solidFill>
              </a:rPr>
              <a:t>AN IMAGE: </a:t>
            </a:r>
            <a:r>
              <a:rPr lang="fr-FR" sz="1200" b="1" dirty="0">
                <a:solidFill>
                  <a:schemeClr val="tx1"/>
                </a:solidFill>
              </a:rPr>
              <a:t>Click on</a:t>
            </a:r>
            <a:r>
              <a:rPr lang="fr-FR" sz="1200" b="1" baseline="0" dirty="0">
                <a:solidFill>
                  <a:schemeClr val="tx1"/>
                </a:solidFill>
              </a:rPr>
              <a:t> the image and </a:t>
            </a:r>
            <a:r>
              <a:rPr lang="fr-FR" sz="1200" b="1" baseline="0" dirty="0" err="1">
                <a:solidFill>
                  <a:schemeClr val="tx1"/>
                </a:solidFill>
              </a:rPr>
              <a:t>delete</a:t>
            </a:r>
            <a:r>
              <a:rPr lang="fr-FR" sz="1200" b="1" baseline="0" dirty="0">
                <a:solidFill>
                  <a:schemeClr val="tx1"/>
                </a:solidFill>
              </a:rPr>
              <a:t> </a:t>
            </a:r>
          </a:p>
          <a:p>
            <a:pPr lvl="0" algn="r"/>
            <a:endParaRPr lang="fr-FR" sz="1200" b="1" baseline="0" dirty="0">
              <a:solidFill>
                <a:schemeClr val="tx1"/>
              </a:solidFill>
            </a:endParaRPr>
          </a:p>
          <a:p>
            <a:pPr lvl="0" algn="r"/>
            <a:r>
              <a:rPr lang="fr-FR" sz="1200" dirty="0" err="1">
                <a:solidFill>
                  <a:schemeClr val="tx1"/>
                </a:solidFill>
              </a:rPr>
              <a:t>then</a:t>
            </a:r>
            <a:r>
              <a:rPr lang="fr-FR" sz="1200" dirty="0">
                <a:solidFill>
                  <a:schemeClr val="tx1"/>
                </a:solidFill>
              </a:rPr>
              <a:t> click on the photo </a:t>
            </a:r>
            <a:r>
              <a:rPr lang="fr-FR" sz="1200" dirty="0" err="1">
                <a:solidFill>
                  <a:schemeClr val="tx1"/>
                </a:solidFill>
              </a:rPr>
              <a:t>icon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  <a:p>
            <a:pPr lvl="0" algn="r"/>
            <a:endParaRPr lang="fr-FR" sz="1200" dirty="0">
              <a:solidFill>
                <a:schemeClr val="tx1"/>
              </a:solidFill>
            </a:endParaRPr>
          </a:p>
          <a:p>
            <a:pPr lvl="0" algn="r"/>
            <a:r>
              <a:rPr lang="fr-FR" sz="1200" dirty="0">
                <a:solidFill>
                  <a:schemeClr val="tx1"/>
                </a:solidFill>
              </a:rPr>
              <a:t>Select your photo and</a:t>
            </a:r>
            <a:r>
              <a:rPr lang="fr-FR" sz="1200" baseline="0" dirty="0">
                <a:solidFill>
                  <a:schemeClr val="tx1"/>
                </a:solidFill>
              </a:rPr>
              <a:t> insert</a:t>
            </a:r>
          </a:p>
          <a:p>
            <a:pPr lvl="0" algn="r"/>
            <a:endParaRPr lang="fr-FR" sz="1200" baseline="0" dirty="0">
              <a:solidFill>
                <a:schemeClr val="tx1"/>
              </a:solidFill>
            </a:endParaRPr>
          </a:p>
          <a:p>
            <a:pPr lvl="0" algn="r"/>
            <a:r>
              <a:rPr lang="fr-FR" sz="1200" baseline="0" dirty="0" err="1">
                <a:solidFill>
                  <a:schemeClr val="tx1"/>
                </a:solidFill>
              </a:rPr>
              <a:t>Resize</a:t>
            </a:r>
            <a:r>
              <a:rPr lang="fr-FR" sz="1200" baseline="0" dirty="0">
                <a:solidFill>
                  <a:schemeClr val="tx1"/>
                </a:solidFill>
              </a:rPr>
              <a:t> photo if </a:t>
            </a:r>
            <a:r>
              <a:rPr lang="fr-FR" sz="1200" baseline="0" dirty="0" err="1">
                <a:solidFill>
                  <a:schemeClr val="tx1"/>
                </a:solidFill>
              </a:rPr>
              <a:t>needed</a:t>
            </a:r>
            <a:r>
              <a:rPr lang="fr-FR" sz="1200" baseline="0" dirty="0">
                <a:solidFill>
                  <a:schemeClr val="tx1"/>
                </a:solidFill>
              </a:rPr>
              <a:t> by </a:t>
            </a:r>
            <a:r>
              <a:rPr lang="fr-FR" sz="1200" baseline="0" dirty="0" err="1">
                <a:solidFill>
                  <a:schemeClr val="tx1"/>
                </a:solidFill>
              </a:rPr>
              <a:t>cropping</a:t>
            </a:r>
            <a:r>
              <a:rPr lang="fr-FR" sz="1200" baseline="0" dirty="0">
                <a:solidFill>
                  <a:schemeClr val="tx1"/>
                </a:solidFill>
              </a:rPr>
              <a:t> and </a:t>
            </a:r>
            <a:r>
              <a:rPr lang="fr-FR" sz="1200" baseline="0" dirty="0" err="1">
                <a:solidFill>
                  <a:schemeClr val="tx1"/>
                </a:solidFill>
              </a:rPr>
              <a:t>sliding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r>
              <a:rPr lang="fr-FR" sz="1200" baseline="0" dirty="0" err="1">
                <a:solidFill>
                  <a:schemeClr val="tx1"/>
                </a:solidFill>
              </a:rPr>
              <a:t>it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endParaRPr lang="fr-FR" sz="1200" dirty="0">
              <a:solidFill>
                <a:schemeClr val="tx1"/>
              </a:solidFill>
            </a:endParaRPr>
          </a:p>
          <a:p>
            <a:pPr algn="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681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&amp;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EXT AND FOCUS WITH 1 LINE 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26852" y="954155"/>
            <a:ext cx="5794166" cy="51912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Clr>
                <a:schemeClr val="accent1"/>
              </a:buClr>
              <a:defRPr lang="fr-FR" dirty="0" smtClean="0"/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lang="fr-FR" dirty="0" smtClean="0"/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 lang="fr-FR" dirty="0" smtClean="0"/>
            </a:lvl3pPr>
            <a:lvl4pPr marL="1616075" indent="-179388">
              <a:buClr>
                <a:schemeClr val="bg2"/>
              </a:buClr>
              <a:defRPr lang="fr-FR" dirty="0" smtClean="0"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481542" y="981076"/>
            <a:ext cx="2954602" cy="5165725"/>
          </a:xfrm>
          <a:solidFill>
            <a:schemeClr val="bg2"/>
          </a:solidFill>
        </p:spPr>
        <p:txBody>
          <a:bodyPr lIns="72000" rIns="108000" anchor="ctr" anchorCtr="0"/>
          <a:lstStyle>
            <a:lvl1pPr marL="0" indent="0" algn="r">
              <a:buNone/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25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EXT AND FOCUS AND CHART WITH 1 LINE TITL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450527" y="1573240"/>
            <a:ext cx="9009000" cy="1855760"/>
          </a:xfrm>
        </p:spPr>
        <p:txBody>
          <a:bodyPr/>
          <a:lstStyle>
            <a:lvl1pPr marL="0" indent="0">
              <a:buClr>
                <a:schemeClr val="accent1"/>
              </a:buClr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b="0"/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/>
            </a:lvl3pPr>
            <a:lvl4pPr marL="1616075" indent="-179388">
              <a:buClr>
                <a:schemeClr val="bg2"/>
              </a:buClr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 bwMode="gray">
          <a:xfrm>
            <a:off x="484981" y="3429000"/>
            <a:ext cx="2951163" cy="230505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buFontTx/>
              <a:buNone/>
              <a:defRPr sz="4000" b="0">
                <a:solidFill>
                  <a:schemeClr val="bg1"/>
                </a:solidFill>
              </a:defRPr>
            </a:lvl1pPr>
            <a:lvl2pPr marL="3175" indent="0" algn="ctr">
              <a:buFontTx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204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85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4982" y="352423"/>
            <a:ext cx="6026149" cy="846000"/>
          </a:xfrm>
          <a:ln>
            <a:noFill/>
          </a:ln>
        </p:spPr>
        <p:txBody>
          <a:bodyPr tIns="126000" bIns="90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1"/>
          </p:nvPr>
        </p:nvSpPr>
        <p:spPr>
          <a:xfrm>
            <a:off x="6581643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9" name="Espace réservé pour une image  7"/>
          <p:cNvSpPr>
            <a:spLocks noGrp="1"/>
          </p:cNvSpPr>
          <p:nvPr>
            <p:ph type="pic" sz="quarter" idx="12"/>
          </p:nvPr>
        </p:nvSpPr>
        <p:spPr>
          <a:xfrm>
            <a:off x="8036587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ZoneTexte 9"/>
          <p:cNvSpPr txBox="1"/>
          <p:nvPr userDrawn="1"/>
        </p:nvSpPr>
        <p:spPr>
          <a:xfrm>
            <a:off x="9982288" y="332656"/>
            <a:ext cx="1208539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fr-FR" sz="1200" b="1" i="0" baseline="0" dirty="0">
                <a:solidFill>
                  <a:schemeClr val="tx1"/>
                </a:solidFill>
              </a:rPr>
              <a:t>TO</a:t>
            </a:r>
          </a:p>
          <a:p>
            <a:pPr lvl="0" algn="l"/>
            <a:r>
              <a:rPr lang="fr-FR" sz="1200" b="1" dirty="0">
                <a:solidFill>
                  <a:schemeClr val="tx1"/>
                </a:solidFill>
              </a:rPr>
              <a:t>REPLACE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br>
              <a:rPr lang="fr-FR" sz="1200" dirty="0">
                <a:solidFill>
                  <a:schemeClr val="tx1"/>
                </a:solidFill>
              </a:rPr>
            </a:br>
            <a:r>
              <a:rPr lang="fr-FR" sz="1200" dirty="0">
                <a:solidFill>
                  <a:schemeClr val="tx1"/>
                </a:solidFill>
              </a:rPr>
              <a:t>AN IMAGE: </a:t>
            </a:r>
            <a:r>
              <a:rPr lang="fr-FR" sz="1200" b="1" dirty="0">
                <a:solidFill>
                  <a:schemeClr val="tx1"/>
                </a:solidFill>
              </a:rPr>
              <a:t>Click on</a:t>
            </a:r>
            <a:r>
              <a:rPr lang="fr-FR" sz="1200" b="1" baseline="0" dirty="0">
                <a:solidFill>
                  <a:schemeClr val="tx1"/>
                </a:solidFill>
              </a:rPr>
              <a:t> the image and </a:t>
            </a:r>
            <a:r>
              <a:rPr lang="fr-FR" sz="1200" b="1" baseline="0" dirty="0" err="1">
                <a:solidFill>
                  <a:schemeClr val="tx1"/>
                </a:solidFill>
              </a:rPr>
              <a:t>delete</a:t>
            </a:r>
            <a:r>
              <a:rPr lang="fr-FR" sz="1200" b="1" baseline="0" dirty="0">
                <a:solidFill>
                  <a:schemeClr val="tx1"/>
                </a:solidFill>
              </a:rPr>
              <a:t> </a:t>
            </a:r>
          </a:p>
          <a:p>
            <a:pPr lvl="0" algn="l"/>
            <a:endParaRPr lang="fr-FR" sz="1200" b="1" baseline="0" dirty="0">
              <a:solidFill>
                <a:schemeClr val="tx1"/>
              </a:solidFill>
            </a:endParaRPr>
          </a:p>
          <a:p>
            <a:pPr lvl="0" algn="l"/>
            <a:r>
              <a:rPr lang="fr-FR" sz="1200" dirty="0" err="1">
                <a:solidFill>
                  <a:schemeClr val="tx1"/>
                </a:solidFill>
              </a:rPr>
              <a:t>then</a:t>
            </a:r>
            <a:r>
              <a:rPr lang="fr-FR" sz="1200" dirty="0">
                <a:solidFill>
                  <a:schemeClr val="tx1"/>
                </a:solidFill>
              </a:rPr>
              <a:t> click on the photo </a:t>
            </a:r>
            <a:r>
              <a:rPr lang="fr-FR" sz="1200" dirty="0" err="1">
                <a:solidFill>
                  <a:schemeClr val="tx1"/>
                </a:solidFill>
              </a:rPr>
              <a:t>icon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  <a:p>
            <a:pPr lvl="0" algn="l"/>
            <a:endParaRPr lang="fr-FR" sz="1200" dirty="0">
              <a:solidFill>
                <a:schemeClr val="tx1"/>
              </a:solidFill>
            </a:endParaRPr>
          </a:p>
          <a:p>
            <a:pPr lvl="0" algn="l"/>
            <a:r>
              <a:rPr lang="fr-FR" sz="1200" dirty="0">
                <a:solidFill>
                  <a:schemeClr val="tx1"/>
                </a:solidFill>
              </a:rPr>
              <a:t>Select your photo and</a:t>
            </a:r>
            <a:r>
              <a:rPr lang="fr-FR" sz="1200" baseline="0" dirty="0">
                <a:solidFill>
                  <a:schemeClr val="tx1"/>
                </a:solidFill>
              </a:rPr>
              <a:t> insert</a:t>
            </a:r>
          </a:p>
          <a:p>
            <a:pPr lvl="0" algn="l"/>
            <a:endParaRPr lang="fr-FR" sz="1200" baseline="0" dirty="0">
              <a:solidFill>
                <a:schemeClr val="tx1"/>
              </a:solidFill>
            </a:endParaRPr>
          </a:p>
          <a:p>
            <a:pPr lvl="0" algn="l"/>
            <a:r>
              <a:rPr lang="fr-FR" sz="1200" baseline="0" dirty="0" err="1">
                <a:solidFill>
                  <a:schemeClr val="tx1"/>
                </a:solidFill>
              </a:rPr>
              <a:t>Resize</a:t>
            </a:r>
            <a:r>
              <a:rPr lang="fr-FR" sz="1200" baseline="0" dirty="0">
                <a:solidFill>
                  <a:schemeClr val="tx1"/>
                </a:solidFill>
              </a:rPr>
              <a:t> photo if </a:t>
            </a:r>
            <a:r>
              <a:rPr lang="fr-FR" sz="1200" baseline="0" dirty="0" err="1">
                <a:solidFill>
                  <a:schemeClr val="tx1"/>
                </a:solidFill>
              </a:rPr>
              <a:t>needed</a:t>
            </a:r>
            <a:r>
              <a:rPr lang="fr-FR" sz="1200" baseline="0" dirty="0">
                <a:solidFill>
                  <a:schemeClr val="tx1"/>
                </a:solidFill>
              </a:rPr>
              <a:t> by </a:t>
            </a:r>
            <a:r>
              <a:rPr lang="fr-FR" sz="1200" baseline="0" dirty="0" err="1">
                <a:solidFill>
                  <a:schemeClr val="tx1"/>
                </a:solidFill>
              </a:rPr>
              <a:t>cropping</a:t>
            </a:r>
            <a:r>
              <a:rPr lang="fr-FR" sz="1200" baseline="0" dirty="0">
                <a:solidFill>
                  <a:schemeClr val="tx1"/>
                </a:solidFill>
              </a:rPr>
              <a:t> and </a:t>
            </a:r>
            <a:r>
              <a:rPr lang="fr-FR" sz="1200" baseline="0" dirty="0" err="1">
                <a:solidFill>
                  <a:schemeClr val="tx1"/>
                </a:solidFill>
              </a:rPr>
              <a:t>sliding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r>
              <a:rPr lang="fr-FR" sz="1200" baseline="0" dirty="0" err="1">
                <a:solidFill>
                  <a:schemeClr val="tx1"/>
                </a:solidFill>
              </a:rPr>
              <a:t>it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488421" y="1567062"/>
            <a:ext cx="8932598" cy="997843"/>
          </a:xfrm>
        </p:spPr>
        <p:txBody>
          <a:bodyPr/>
          <a:lstStyle>
            <a:lvl2pPr marL="623888" indent="-266700">
              <a:tabLst>
                <a:tab pos="1616075" algn="l"/>
                <a:tab pos="2330450" algn="l"/>
                <a:tab pos="8077200" algn="r"/>
              </a:tabLst>
              <a:defRPr/>
            </a:lvl2pPr>
            <a:lvl3pPr marL="896938" indent="-176213">
              <a:tabLst>
                <a:tab pos="1082675" algn="l"/>
                <a:tab pos="2149475" algn="l"/>
                <a:tab pos="8077200" algn="r"/>
              </a:tabLst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0610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images_grey_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4982" y="352423"/>
            <a:ext cx="6026149" cy="846000"/>
          </a:xfrm>
          <a:ln>
            <a:noFill/>
          </a:ln>
        </p:spPr>
        <p:txBody>
          <a:bodyPr tIns="126000" bIns="90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488421" y="1268759"/>
            <a:ext cx="8932598" cy="489121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1"/>
          </p:nvPr>
        </p:nvSpPr>
        <p:spPr>
          <a:xfrm>
            <a:off x="6581643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9" name="Espace réservé pour une image  7"/>
          <p:cNvSpPr>
            <a:spLocks noGrp="1"/>
          </p:cNvSpPr>
          <p:nvPr>
            <p:ph type="pic" sz="quarter" idx="12"/>
          </p:nvPr>
        </p:nvSpPr>
        <p:spPr>
          <a:xfrm>
            <a:off x="8036587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ZoneTexte 9"/>
          <p:cNvSpPr txBox="1"/>
          <p:nvPr userDrawn="1"/>
        </p:nvSpPr>
        <p:spPr>
          <a:xfrm>
            <a:off x="9982288" y="332656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fr-FR" sz="1200" b="1" i="0" baseline="0" dirty="0">
                <a:solidFill>
                  <a:schemeClr val="tx1"/>
                </a:solidFill>
              </a:rPr>
              <a:t>TO</a:t>
            </a:r>
          </a:p>
          <a:p>
            <a:pPr lvl="0" algn="l"/>
            <a:r>
              <a:rPr lang="fr-FR" sz="1200" b="1" dirty="0">
                <a:solidFill>
                  <a:schemeClr val="tx1"/>
                </a:solidFill>
              </a:rPr>
              <a:t>REPLACE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br>
              <a:rPr lang="fr-FR" sz="1200" dirty="0">
                <a:solidFill>
                  <a:schemeClr val="tx1"/>
                </a:solidFill>
              </a:rPr>
            </a:br>
            <a:r>
              <a:rPr lang="fr-FR" sz="1200" dirty="0">
                <a:solidFill>
                  <a:schemeClr val="tx1"/>
                </a:solidFill>
              </a:rPr>
              <a:t>AN IMAGE: </a:t>
            </a:r>
            <a:r>
              <a:rPr lang="fr-FR" sz="1200" b="1" dirty="0">
                <a:solidFill>
                  <a:schemeClr val="tx1"/>
                </a:solidFill>
              </a:rPr>
              <a:t>Click on</a:t>
            </a:r>
            <a:r>
              <a:rPr lang="fr-FR" sz="1200" b="1" baseline="0" dirty="0">
                <a:solidFill>
                  <a:schemeClr val="tx1"/>
                </a:solidFill>
              </a:rPr>
              <a:t> the image and </a:t>
            </a:r>
            <a:r>
              <a:rPr lang="fr-FR" sz="1200" b="1" baseline="0" dirty="0" err="1">
                <a:solidFill>
                  <a:schemeClr val="tx1"/>
                </a:solidFill>
              </a:rPr>
              <a:t>delete</a:t>
            </a:r>
            <a:r>
              <a:rPr lang="fr-FR" sz="1200" b="1" baseline="0" dirty="0">
                <a:solidFill>
                  <a:schemeClr val="tx1"/>
                </a:solidFill>
              </a:rPr>
              <a:t> </a:t>
            </a:r>
          </a:p>
          <a:p>
            <a:pPr lvl="0" algn="l"/>
            <a:endParaRPr lang="fr-FR" sz="1200" b="1" baseline="0" dirty="0">
              <a:solidFill>
                <a:schemeClr val="tx1"/>
              </a:solidFill>
            </a:endParaRPr>
          </a:p>
          <a:p>
            <a:pPr lvl="0" algn="l"/>
            <a:r>
              <a:rPr lang="fr-FR" sz="1200" dirty="0" err="1">
                <a:solidFill>
                  <a:schemeClr val="tx1"/>
                </a:solidFill>
              </a:rPr>
              <a:t>then</a:t>
            </a:r>
            <a:r>
              <a:rPr lang="fr-FR" sz="1200" dirty="0">
                <a:solidFill>
                  <a:schemeClr val="tx1"/>
                </a:solidFill>
              </a:rPr>
              <a:t> click on the photo </a:t>
            </a:r>
            <a:r>
              <a:rPr lang="fr-FR" sz="1200" dirty="0" err="1">
                <a:solidFill>
                  <a:schemeClr val="tx1"/>
                </a:solidFill>
              </a:rPr>
              <a:t>icon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  <a:p>
            <a:pPr lvl="0" algn="l"/>
            <a:endParaRPr lang="fr-FR" sz="1200" dirty="0">
              <a:solidFill>
                <a:schemeClr val="tx1"/>
              </a:solidFill>
            </a:endParaRPr>
          </a:p>
          <a:p>
            <a:pPr lvl="0" algn="l"/>
            <a:r>
              <a:rPr lang="fr-FR" sz="1200" dirty="0">
                <a:solidFill>
                  <a:schemeClr val="tx1"/>
                </a:solidFill>
              </a:rPr>
              <a:t>Select your photo and</a:t>
            </a:r>
            <a:r>
              <a:rPr lang="fr-FR" sz="1200" baseline="0" dirty="0">
                <a:solidFill>
                  <a:schemeClr val="tx1"/>
                </a:solidFill>
              </a:rPr>
              <a:t> insert</a:t>
            </a:r>
          </a:p>
          <a:p>
            <a:pPr lvl="0" algn="l"/>
            <a:endParaRPr lang="fr-FR" sz="1200" baseline="0" dirty="0">
              <a:solidFill>
                <a:schemeClr val="tx1"/>
              </a:solidFill>
            </a:endParaRPr>
          </a:p>
          <a:p>
            <a:pPr lvl="0" algn="l"/>
            <a:r>
              <a:rPr lang="fr-FR" sz="1200" baseline="0" dirty="0" err="1">
                <a:solidFill>
                  <a:schemeClr val="tx1"/>
                </a:solidFill>
              </a:rPr>
              <a:t>Resize</a:t>
            </a:r>
            <a:r>
              <a:rPr lang="fr-FR" sz="1200" baseline="0" dirty="0">
                <a:solidFill>
                  <a:schemeClr val="tx1"/>
                </a:solidFill>
              </a:rPr>
              <a:t> photo if </a:t>
            </a:r>
            <a:r>
              <a:rPr lang="fr-FR" sz="1200" baseline="0" dirty="0" err="1">
                <a:solidFill>
                  <a:schemeClr val="tx1"/>
                </a:solidFill>
              </a:rPr>
              <a:t>needed</a:t>
            </a:r>
            <a:r>
              <a:rPr lang="fr-FR" sz="1200" baseline="0" dirty="0">
                <a:solidFill>
                  <a:schemeClr val="tx1"/>
                </a:solidFill>
              </a:rPr>
              <a:t> by </a:t>
            </a:r>
            <a:r>
              <a:rPr lang="fr-FR" sz="1200" baseline="0" dirty="0" err="1">
                <a:solidFill>
                  <a:schemeClr val="tx1"/>
                </a:solidFill>
              </a:rPr>
              <a:t>cropping</a:t>
            </a:r>
            <a:r>
              <a:rPr lang="fr-FR" sz="1200" baseline="0" dirty="0">
                <a:solidFill>
                  <a:schemeClr val="tx1"/>
                </a:solidFill>
              </a:rPr>
              <a:t> and </a:t>
            </a:r>
            <a:r>
              <a:rPr lang="fr-FR" sz="1200" baseline="0" dirty="0" err="1">
                <a:solidFill>
                  <a:schemeClr val="tx1"/>
                </a:solidFill>
              </a:rPr>
              <a:t>sliding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r>
              <a:rPr lang="fr-FR" sz="1200" baseline="0" dirty="0" err="1">
                <a:solidFill>
                  <a:schemeClr val="tx1"/>
                </a:solidFill>
              </a:rPr>
              <a:t>it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endParaRPr lang="fr-FR" sz="1200" dirty="0">
              <a:solidFill>
                <a:schemeClr val="tx1"/>
              </a:solidFill>
            </a:endParaRPr>
          </a:p>
          <a:p>
            <a:pPr algn="l"/>
            <a:endParaRPr lang="fr-FR" sz="1200" dirty="0">
              <a:solidFill>
                <a:schemeClr val="tx1"/>
              </a:solidFill>
            </a:endParaRPr>
          </a:p>
          <a:p>
            <a:pPr algn="l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3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5039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815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_blue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>
          <a:xfrm>
            <a:off x="459140" y="2613431"/>
            <a:ext cx="8970000" cy="553998"/>
          </a:xfrm>
          <a:noFill/>
        </p:spPr>
        <p:txBody>
          <a:bodyPr lIns="0" tIns="0" rIns="0" bIns="0">
            <a:sp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>
          <a:xfrm>
            <a:off x="484981" y="3719651"/>
            <a:ext cx="8936038" cy="360363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fr-FR" sz="1600" b="0" kern="1200" smtClean="0">
                <a:solidFill>
                  <a:schemeClr val="bg1"/>
                </a:solidFill>
                <a:latin typeface="Arial" charset="0"/>
              </a:defRPr>
            </a:lvl1pPr>
            <a:lvl2pPr marL="190500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38187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92212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r>
              <a:rPr lang="fr-FR" altLang="fr-FR" dirty="0" err="1"/>
              <a:t>Month</a:t>
            </a:r>
            <a:r>
              <a:rPr lang="fr-FR" altLang="fr-FR" dirty="0"/>
              <a:t> XX, 2012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359" y="1115221"/>
            <a:ext cx="2142780" cy="84797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7" y="6029325"/>
            <a:ext cx="627900" cy="46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75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"/>
          <p:cNvSpPr>
            <a:spLocks noChangeArrowheads="1"/>
          </p:cNvSpPr>
          <p:nvPr/>
        </p:nvSpPr>
        <p:spPr bwMode="white">
          <a:xfrm>
            <a:off x="364596" y="1"/>
            <a:ext cx="204656" cy="1700213"/>
          </a:xfrm>
          <a:prstGeom prst="rect">
            <a:avLst/>
          </a:prstGeom>
          <a:solidFill>
            <a:srgbClr val="0B3A8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/>
          </a:p>
        </p:txBody>
      </p:sp>
      <p:sp>
        <p:nvSpPr>
          <p:cNvPr id="5" name="Rectangle 35"/>
          <p:cNvSpPr>
            <a:spLocks noChangeArrowheads="1"/>
          </p:cNvSpPr>
          <p:nvPr/>
        </p:nvSpPr>
        <p:spPr bwMode="blackWhite">
          <a:xfrm rot="21103975">
            <a:off x="908050" y="2133600"/>
            <a:ext cx="6039908" cy="2744788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/>
          </a:p>
        </p:txBody>
      </p:sp>
      <p:sp>
        <p:nvSpPr>
          <p:cNvPr id="6" name="Rectangle 39"/>
          <p:cNvSpPr>
            <a:spLocks noChangeArrowheads="1"/>
          </p:cNvSpPr>
          <p:nvPr/>
        </p:nvSpPr>
        <p:spPr bwMode="white">
          <a:xfrm>
            <a:off x="307844" y="0"/>
            <a:ext cx="400711" cy="6858000"/>
          </a:xfrm>
          <a:prstGeom prst="rect">
            <a:avLst/>
          </a:prstGeom>
          <a:solidFill>
            <a:srgbClr val="7994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/>
          </a:p>
        </p:txBody>
      </p:sp>
      <p:sp>
        <p:nvSpPr>
          <p:cNvPr id="7" name="Rectangle 40"/>
          <p:cNvSpPr>
            <a:spLocks noChangeArrowheads="1"/>
          </p:cNvSpPr>
          <p:nvPr/>
        </p:nvSpPr>
        <p:spPr bwMode="white">
          <a:xfrm>
            <a:off x="529696" y="1"/>
            <a:ext cx="204656" cy="1700213"/>
          </a:xfrm>
          <a:prstGeom prst="rect">
            <a:avLst/>
          </a:prstGeom>
          <a:solidFill>
            <a:srgbClr val="7994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/>
          </a:p>
        </p:txBody>
      </p:sp>
      <p:sp>
        <p:nvSpPr>
          <p:cNvPr id="8" name="Freeform 41"/>
          <p:cNvSpPr>
            <a:spLocks/>
          </p:cNvSpPr>
          <p:nvPr/>
        </p:nvSpPr>
        <p:spPr bwMode="gray">
          <a:xfrm>
            <a:off x="280327" y="-3175"/>
            <a:ext cx="854736" cy="6856413"/>
          </a:xfrm>
          <a:custGeom>
            <a:avLst/>
            <a:gdLst>
              <a:gd name="T0" fmla="*/ 152 w 497"/>
              <a:gd name="T1" fmla="*/ 0 h 4319"/>
              <a:gd name="T2" fmla="*/ 0 w 497"/>
              <a:gd name="T3" fmla="*/ 0 h 4319"/>
              <a:gd name="T4" fmla="*/ 130 w 497"/>
              <a:gd name="T5" fmla="*/ 1622 h 4319"/>
              <a:gd name="T6" fmla="*/ 260 w 497"/>
              <a:gd name="T7" fmla="*/ 3272 h 4319"/>
              <a:gd name="T8" fmla="*/ 346 w 497"/>
              <a:gd name="T9" fmla="*/ 4319 h 4319"/>
              <a:gd name="T10" fmla="*/ 497 w 497"/>
              <a:gd name="T11" fmla="*/ 4319 h 4319"/>
              <a:gd name="T12" fmla="*/ 426 w 497"/>
              <a:gd name="T13" fmla="*/ 3404 h 4319"/>
              <a:gd name="T14" fmla="*/ 284 w 497"/>
              <a:gd name="T15" fmla="*/ 1618 h 4319"/>
              <a:gd name="T16" fmla="*/ 152 w 497"/>
              <a:gd name="T17" fmla="*/ 0 h 4319"/>
              <a:gd name="T18" fmla="*/ 152 w 497"/>
              <a:gd name="T19" fmla="*/ 0 h 43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97"/>
              <a:gd name="T31" fmla="*/ 0 h 4319"/>
              <a:gd name="T32" fmla="*/ 497 w 497"/>
              <a:gd name="T33" fmla="*/ 4319 h 431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97" h="4319">
                <a:moveTo>
                  <a:pt x="152" y="0"/>
                </a:moveTo>
                <a:lnTo>
                  <a:pt x="0" y="0"/>
                </a:lnTo>
                <a:lnTo>
                  <a:pt x="130" y="1622"/>
                </a:lnTo>
                <a:lnTo>
                  <a:pt x="260" y="3272"/>
                </a:lnTo>
                <a:lnTo>
                  <a:pt x="346" y="4319"/>
                </a:lnTo>
                <a:lnTo>
                  <a:pt x="497" y="4319"/>
                </a:lnTo>
                <a:lnTo>
                  <a:pt x="426" y="3404"/>
                </a:lnTo>
                <a:lnTo>
                  <a:pt x="284" y="1618"/>
                </a:lnTo>
                <a:lnTo>
                  <a:pt x="15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/>
          </a:p>
        </p:txBody>
      </p:sp>
      <p:sp>
        <p:nvSpPr>
          <p:cNvPr id="9" name="Freeform 42"/>
          <p:cNvSpPr>
            <a:spLocks/>
          </p:cNvSpPr>
          <p:nvPr/>
        </p:nvSpPr>
        <p:spPr bwMode="gray">
          <a:xfrm>
            <a:off x="601927" y="-3175"/>
            <a:ext cx="366316" cy="6856413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37" y="1622"/>
              </a:cxn>
              <a:cxn ang="0">
                <a:pos x="0" y="4319"/>
              </a:cxn>
              <a:cxn ang="0">
                <a:pos x="153" y="4319"/>
              </a:cxn>
              <a:cxn ang="0">
                <a:pos x="167" y="3272"/>
              </a:cxn>
              <a:cxn ang="0">
                <a:pos x="191" y="1618"/>
              </a:cxn>
              <a:cxn ang="0">
                <a:pos x="213" y="0"/>
              </a:cxn>
              <a:cxn ang="0">
                <a:pos x="59" y="0"/>
              </a:cxn>
              <a:cxn ang="0">
                <a:pos x="59" y="0"/>
              </a:cxn>
            </a:cxnLst>
            <a:rect l="0" t="0" r="r" b="b"/>
            <a:pathLst>
              <a:path w="213" h="4319">
                <a:moveTo>
                  <a:pt x="59" y="0"/>
                </a:moveTo>
                <a:lnTo>
                  <a:pt x="37" y="1622"/>
                </a:lnTo>
                <a:lnTo>
                  <a:pt x="0" y="4319"/>
                </a:lnTo>
                <a:lnTo>
                  <a:pt x="153" y="4319"/>
                </a:lnTo>
                <a:lnTo>
                  <a:pt x="167" y="3272"/>
                </a:lnTo>
                <a:lnTo>
                  <a:pt x="191" y="1618"/>
                </a:lnTo>
                <a:lnTo>
                  <a:pt x="213" y="0"/>
                </a:lnTo>
                <a:lnTo>
                  <a:pt x="59" y="0"/>
                </a:lnTo>
                <a:lnTo>
                  <a:pt x="59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/>
          </a:p>
        </p:txBody>
      </p:sp>
      <p:sp>
        <p:nvSpPr>
          <p:cNvPr id="10" name="Freeform 43"/>
          <p:cNvSpPr>
            <a:spLocks/>
          </p:cNvSpPr>
          <p:nvPr/>
        </p:nvSpPr>
        <p:spPr bwMode="gray">
          <a:xfrm>
            <a:off x="0" y="-3175"/>
            <a:ext cx="467783" cy="6856413"/>
          </a:xfrm>
          <a:custGeom>
            <a:avLst/>
            <a:gdLst>
              <a:gd name="T0" fmla="*/ 272 w 272"/>
              <a:gd name="T1" fmla="*/ 4319 h 4319"/>
              <a:gd name="T2" fmla="*/ 142 w 272"/>
              <a:gd name="T3" fmla="*/ 0 h 4319"/>
              <a:gd name="T4" fmla="*/ 0 w 272"/>
              <a:gd name="T5" fmla="*/ 0 h 4319"/>
              <a:gd name="T6" fmla="*/ 122 w 272"/>
              <a:gd name="T7" fmla="*/ 4319 h 4319"/>
              <a:gd name="T8" fmla="*/ 272 w 272"/>
              <a:gd name="T9" fmla="*/ 4319 h 43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72"/>
              <a:gd name="T16" fmla="*/ 0 h 4319"/>
              <a:gd name="T17" fmla="*/ 272 w 272"/>
              <a:gd name="T18" fmla="*/ 4319 h 43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72" h="4319">
                <a:moveTo>
                  <a:pt x="272" y="4319"/>
                </a:moveTo>
                <a:lnTo>
                  <a:pt x="142" y="0"/>
                </a:lnTo>
                <a:lnTo>
                  <a:pt x="0" y="0"/>
                </a:lnTo>
                <a:lnTo>
                  <a:pt x="122" y="4319"/>
                </a:lnTo>
                <a:lnTo>
                  <a:pt x="272" y="4319"/>
                </a:lnTo>
                <a:close/>
              </a:path>
            </a:pathLst>
          </a:custGeom>
          <a:solidFill>
            <a:srgbClr val="FFB3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/>
          </a:p>
        </p:txBody>
      </p:sp>
      <p:sp>
        <p:nvSpPr>
          <p:cNvPr id="11" name="Text Box 50"/>
          <p:cNvSpPr txBox="1">
            <a:spLocks noChangeArrowheads="1"/>
          </p:cNvSpPr>
          <p:nvPr/>
        </p:nvSpPr>
        <p:spPr bwMode="auto">
          <a:xfrm>
            <a:off x="1238250" y="3505200"/>
            <a:ext cx="6325394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/>
          </a:p>
        </p:txBody>
      </p:sp>
      <p:pic>
        <p:nvPicPr>
          <p:cNvPr id="12" name="Picture 52" descr="stophunger_KO_noSM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7750" y="6070601"/>
            <a:ext cx="699956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7" descr="sodexo_gb_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1650" y="176214"/>
            <a:ext cx="297180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69" name="Rectangle 3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1238250" y="228600"/>
            <a:ext cx="5778500" cy="838200"/>
          </a:xfrm>
        </p:spPr>
        <p:txBody>
          <a:bodyPr/>
          <a:lstStyle>
            <a:lvl1pPr marL="0" indent="0">
              <a:buFont typeface="Wingdings" pitchFamily="-107" charset="2"/>
              <a:buNone/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/>
              <a:t>Name of the Presenter, Arial 24 </a:t>
            </a:r>
          </a:p>
          <a:p>
            <a:r>
              <a:rPr lang="fr-FR"/>
              <a:t>Date</a:t>
            </a:r>
            <a:endParaRPr lang="en-US"/>
          </a:p>
        </p:txBody>
      </p:sp>
      <p:sp>
        <p:nvSpPr>
          <p:cNvPr id="14372" name="Rectangle 36"/>
          <p:cNvSpPr>
            <a:spLocks noGrp="1" noChangeArrowheads="1"/>
          </p:cNvSpPr>
          <p:nvPr>
            <p:ph type="ctrTitle" sz="quarter"/>
          </p:nvPr>
        </p:nvSpPr>
        <p:spPr>
          <a:xfrm>
            <a:off x="1238250" y="2667000"/>
            <a:ext cx="5613400" cy="2209800"/>
          </a:xfrm>
        </p:spPr>
        <p:txBody>
          <a:bodyPr lIns="0" tIns="0" rIns="0" bIns="0"/>
          <a:lstStyle>
            <a:lvl1pPr>
              <a:defRPr sz="4400" b="1">
                <a:solidFill>
                  <a:schemeClr val="tx2"/>
                </a:solidFill>
                <a:latin typeface="Sodexho" pitchFamily="-107" charset="-18"/>
              </a:defRPr>
            </a:lvl1pPr>
          </a:lstStyle>
          <a:p>
            <a:r>
              <a:rPr lang="en-US"/>
              <a:t>Title of the present</a:t>
            </a:r>
            <a:r>
              <a:rPr lang="fr-FR"/>
              <a:t>ation, Sodexho font, 44</a:t>
            </a:r>
            <a:endParaRPr lang="en-US"/>
          </a:p>
        </p:txBody>
      </p:sp>
      <p:sp>
        <p:nvSpPr>
          <p:cNvPr id="14" name="Rectangle 34"/>
          <p:cNvSpPr>
            <a:spLocks noGrp="1" noChangeArrowheads="1"/>
          </p:cNvSpPr>
          <p:nvPr>
            <p:ph type="ftr" sz="quarter" idx="10"/>
          </p:nvPr>
        </p:nvSpPr>
        <p:spPr bwMode="black">
          <a:xfrm>
            <a:off x="1403350" y="6324600"/>
            <a:ext cx="8007350" cy="3048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>
                <a:solidFill>
                  <a:schemeClr val="bg2"/>
                </a:solidFill>
              </a:defRPr>
            </a:lvl1pPr>
          </a:lstStyle>
          <a:p>
            <a:pPr algn="ctr"/>
            <a:r>
              <a:rPr lang="en-US" altLang="en-US">
                <a:solidFill>
                  <a:srgbClr val="FFFFFF"/>
                </a:solidFill>
                <a:latin typeface="Arial" pitchFamily="34" charset="0"/>
                <a:cs typeface="Times New Roman" pitchFamily="18" charset="0"/>
              </a:rPr>
              <a:t>www.sodexhoUSA.com</a:t>
            </a:r>
          </a:p>
        </p:txBody>
      </p:sp>
    </p:spTree>
    <p:extLst>
      <p:ext uri="{BB962C8B-B14F-4D97-AF65-F5344CB8AC3E}">
        <p14:creationId xmlns:p14="http://schemas.microsoft.com/office/powerpoint/2010/main" val="388278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DCE0D7F-AEB6-4F6F-9BDE-D641DAF1339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9774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9B749B-7DC9-47A2-95E9-1FA11F21982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54443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7850" y="1600200"/>
            <a:ext cx="4369991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2942" y="1600200"/>
            <a:ext cx="436999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392CD9-D513-4DFC-9372-0C6B17D7790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184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27C301B-6F8C-480B-A697-60438909751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5920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8326EB0-B23C-4E11-A1A2-35EB818DF77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74785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9D48FD6-31C7-4848-8AA1-A3CEE563A28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2252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903126E-7AD1-4A41-AE49-A565B0E7BE4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0927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EA75EA8-1D75-4FE1-A71A-6426E704607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141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5FD4B5E-B0EA-4845-9403-864F803B3A9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2017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26852" y="954156"/>
            <a:ext cx="5794166" cy="5202000"/>
          </a:xfrm>
          <a:solidFill>
            <a:schemeClr val="bg2"/>
          </a:solidFill>
        </p:spPr>
        <p:txBody>
          <a:bodyPr lIns="72000" anchor="ctr" anchorCtr="0"/>
          <a:lstStyle>
            <a:lvl1pPr marL="457200" indent="-45720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 b="1"/>
            </a:lvl1pPr>
            <a:lvl2pPr marL="719138" indent="0">
              <a:buClr>
                <a:schemeClr val="tx1"/>
              </a:buClr>
              <a:buFont typeface="+mj-lt"/>
              <a:buNone/>
              <a:defRPr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4981" y="352425"/>
            <a:ext cx="8936038" cy="550508"/>
          </a:xfrm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SUMMARY</a:t>
            </a:r>
          </a:p>
        </p:txBody>
      </p:sp>
      <p:sp>
        <p:nvSpPr>
          <p:cNvPr id="10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80" y="954156"/>
            <a:ext cx="3064670" cy="5202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2" name="ZoneTexte 11"/>
          <p:cNvSpPr txBox="1"/>
          <p:nvPr userDrawn="1"/>
        </p:nvSpPr>
        <p:spPr>
          <a:xfrm>
            <a:off x="-1287694" y="1872114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/>
            <a:endParaRPr lang="fr-FR" sz="1200" dirty="0">
              <a:solidFill>
                <a:schemeClr val="tx1"/>
              </a:solidFill>
            </a:endParaRPr>
          </a:p>
          <a:p>
            <a:pPr lvl="0" algn="r"/>
            <a:r>
              <a:rPr lang="fr-FR" sz="1200" b="1" i="0" baseline="0" dirty="0">
                <a:solidFill>
                  <a:schemeClr val="tx1"/>
                </a:solidFill>
              </a:rPr>
              <a:t>TO</a:t>
            </a:r>
          </a:p>
          <a:p>
            <a:pPr lvl="0" algn="r"/>
            <a:r>
              <a:rPr lang="fr-FR" sz="1200" b="1" dirty="0">
                <a:solidFill>
                  <a:schemeClr val="tx1"/>
                </a:solidFill>
              </a:rPr>
              <a:t>REPLACE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br>
              <a:rPr lang="fr-FR" sz="1200" dirty="0">
                <a:solidFill>
                  <a:schemeClr val="tx1"/>
                </a:solidFill>
              </a:rPr>
            </a:br>
            <a:r>
              <a:rPr lang="fr-FR" sz="1200" dirty="0">
                <a:solidFill>
                  <a:schemeClr val="tx1"/>
                </a:solidFill>
              </a:rPr>
              <a:t>AN IMAGE: </a:t>
            </a:r>
            <a:r>
              <a:rPr lang="fr-FR" sz="1200" b="1" dirty="0">
                <a:solidFill>
                  <a:schemeClr val="tx1"/>
                </a:solidFill>
              </a:rPr>
              <a:t>Click on</a:t>
            </a:r>
            <a:r>
              <a:rPr lang="fr-FR" sz="1200" b="1" baseline="0" dirty="0">
                <a:solidFill>
                  <a:schemeClr val="tx1"/>
                </a:solidFill>
              </a:rPr>
              <a:t> the image and </a:t>
            </a:r>
            <a:r>
              <a:rPr lang="fr-FR" sz="1200" b="1" baseline="0" dirty="0" err="1">
                <a:solidFill>
                  <a:schemeClr val="tx1"/>
                </a:solidFill>
              </a:rPr>
              <a:t>delete</a:t>
            </a:r>
            <a:r>
              <a:rPr lang="fr-FR" sz="1200" b="1" baseline="0" dirty="0">
                <a:solidFill>
                  <a:schemeClr val="tx1"/>
                </a:solidFill>
              </a:rPr>
              <a:t> </a:t>
            </a:r>
          </a:p>
          <a:p>
            <a:pPr lvl="0" algn="r"/>
            <a:endParaRPr lang="fr-FR" sz="1200" b="1" baseline="0" dirty="0">
              <a:solidFill>
                <a:schemeClr val="tx1"/>
              </a:solidFill>
            </a:endParaRPr>
          </a:p>
          <a:p>
            <a:pPr lvl="0" algn="r"/>
            <a:r>
              <a:rPr lang="fr-FR" sz="1200" dirty="0" err="1">
                <a:solidFill>
                  <a:schemeClr val="tx1"/>
                </a:solidFill>
              </a:rPr>
              <a:t>then</a:t>
            </a:r>
            <a:r>
              <a:rPr lang="fr-FR" sz="1200" dirty="0">
                <a:solidFill>
                  <a:schemeClr val="tx1"/>
                </a:solidFill>
              </a:rPr>
              <a:t> click on the photo </a:t>
            </a:r>
            <a:r>
              <a:rPr lang="fr-FR" sz="1200" dirty="0" err="1">
                <a:solidFill>
                  <a:schemeClr val="tx1"/>
                </a:solidFill>
              </a:rPr>
              <a:t>icon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  <a:p>
            <a:pPr lvl="0" algn="r"/>
            <a:endParaRPr lang="fr-FR" sz="1200" dirty="0">
              <a:solidFill>
                <a:schemeClr val="tx1"/>
              </a:solidFill>
            </a:endParaRPr>
          </a:p>
          <a:p>
            <a:pPr lvl="0" algn="r"/>
            <a:r>
              <a:rPr lang="fr-FR" sz="1200" dirty="0">
                <a:solidFill>
                  <a:schemeClr val="tx1"/>
                </a:solidFill>
              </a:rPr>
              <a:t>Select your photo and</a:t>
            </a:r>
            <a:r>
              <a:rPr lang="fr-FR" sz="1200" baseline="0" dirty="0">
                <a:solidFill>
                  <a:schemeClr val="tx1"/>
                </a:solidFill>
              </a:rPr>
              <a:t> insert</a:t>
            </a:r>
          </a:p>
          <a:p>
            <a:pPr lvl="0" algn="r"/>
            <a:endParaRPr lang="fr-FR" sz="1200" baseline="0" dirty="0">
              <a:solidFill>
                <a:schemeClr val="tx1"/>
              </a:solidFill>
            </a:endParaRPr>
          </a:p>
          <a:p>
            <a:pPr lvl="0" algn="r"/>
            <a:r>
              <a:rPr lang="fr-FR" sz="1200" baseline="0" dirty="0" err="1">
                <a:solidFill>
                  <a:schemeClr val="tx1"/>
                </a:solidFill>
              </a:rPr>
              <a:t>Resize</a:t>
            </a:r>
            <a:r>
              <a:rPr lang="fr-FR" sz="1200" baseline="0" dirty="0">
                <a:solidFill>
                  <a:schemeClr val="tx1"/>
                </a:solidFill>
              </a:rPr>
              <a:t> photo if </a:t>
            </a:r>
            <a:r>
              <a:rPr lang="fr-FR" sz="1200" baseline="0" dirty="0" err="1">
                <a:solidFill>
                  <a:schemeClr val="tx1"/>
                </a:solidFill>
              </a:rPr>
              <a:t>needed</a:t>
            </a:r>
            <a:r>
              <a:rPr lang="fr-FR" sz="1200" baseline="0" dirty="0">
                <a:solidFill>
                  <a:schemeClr val="tx1"/>
                </a:solidFill>
              </a:rPr>
              <a:t> by </a:t>
            </a:r>
            <a:r>
              <a:rPr lang="fr-FR" sz="1200" baseline="0" dirty="0" err="1">
                <a:solidFill>
                  <a:schemeClr val="tx1"/>
                </a:solidFill>
              </a:rPr>
              <a:t>cropping</a:t>
            </a:r>
            <a:r>
              <a:rPr lang="fr-FR" sz="1200" baseline="0" dirty="0">
                <a:solidFill>
                  <a:schemeClr val="tx1"/>
                </a:solidFill>
              </a:rPr>
              <a:t> and </a:t>
            </a:r>
            <a:r>
              <a:rPr lang="fr-FR" sz="1200" baseline="0" dirty="0" err="1">
                <a:solidFill>
                  <a:schemeClr val="tx1"/>
                </a:solidFill>
              </a:rPr>
              <a:t>sliding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r>
              <a:rPr lang="fr-FR" sz="1200" baseline="0" dirty="0" err="1">
                <a:solidFill>
                  <a:schemeClr val="tx1"/>
                </a:solidFill>
              </a:rPr>
              <a:t>it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endParaRPr lang="fr-FR" sz="1200" dirty="0">
              <a:solidFill>
                <a:schemeClr val="tx1"/>
              </a:solidFill>
            </a:endParaRPr>
          </a:p>
          <a:p>
            <a:pPr algn="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3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57522" y="304800"/>
            <a:ext cx="222541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7850" y="304800"/>
            <a:ext cx="6514571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12EAEB9-DAB1-4F53-B0CC-A7099E3839E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2316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3150" y="304801"/>
            <a:ext cx="8337550" cy="944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77851" y="1600200"/>
            <a:ext cx="8905081" cy="43434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CA25E2A-4DFA-481A-A917-B99C9552CF0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0155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25"/>
            <a:ext cx="9906000" cy="2679192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359" y="1115221"/>
            <a:ext cx="2142780" cy="847974"/>
          </a:xfrm>
          <a:prstGeom prst="rect">
            <a:avLst/>
          </a:prstGeom>
        </p:spPr>
      </p:pic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 bwMode="gray">
          <a:xfrm>
            <a:off x="459140" y="2613432"/>
            <a:ext cx="8970000" cy="553999"/>
          </a:xfrm>
          <a:noFill/>
        </p:spPr>
        <p:txBody>
          <a:bodyPr lIns="0" tIns="0" rIns="0" bIns="0">
            <a:spAutoFit/>
          </a:bodyPr>
          <a:lstStyle>
            <a:lvl1pPr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84981" y="3716710"/>
            <a:ext cx="8936038" cy="360363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fr-FR" sz="1600" b="0" kern="1200" smtClean="0">
                <a:solidFill>
                  <a:schemeClr val="tx2"/>
                </a:solidFill>
                <a:latin typeface="Arial" charset="0"/>
              </a:defRPr>
            </a:lvl1pPr>
            <a:lvl2pPr marL="190500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38187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92212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r>
              <a:rPr lang="fr-FR" altLang="fr-FR" dirty="0" err="1"/>
              <a:t>Month</a:t>
            </a:r>
            <a:r>
              <a:rPr lang="fr-FR" altLang="fr-FR" dirty="0"/>
              <a:t> XX, 2012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-1406977" y="369219"/>
            <a:ext cx="1296791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400" b="1" dirty="0">
                <a:solidFill>
                  <a:srgbClr val="000000"/>
                </a:solidFill>
              </a:rPr>
              <a:t>REPLACE</a:t>
            </a:r>
            <a:r>
              <a:rPr lang="fr-FR" sz="1400" dirty="0">
                <a:solidFill>
                  <a:srgbClr val="000000"/>
                </a:solidFill>
              </a:rPr>
              <a:t> </a:t>
            </a:r>
            <a:r>
              <a:rPr lang="fr-FR" sz="1400" b="1" dirty="0">
                <a:solidFill>
                  <a:srgbClr val="000000"/>
                </a:solidFill>
              </a:rPr>
              <a:t>THE IMAGE: </a:t>
            </a:r>
          </a:p>
          <a:p>
            <a:pPr algn="r"/>
            <a:endParaRPr lang="fr-FR" sz="1400" b="1" dirty="0">
              <a:solidFill>
                <a:srgbClr val="000000"/>
              </a:solidFill>
            </a:endParaRPr>
          </a:p>
          <a:p>
            <a:pPr algn="r"/>
            <a:r>
              <a:rPr lang="fr-FR" sz="1400" dirty="0">
                <a:solidFill>
                  <a:srgbClr val="000000"/>
                </a:solidFill>
              </a:rPr>
              <a:t>Right  click &gt; </a:t>
            </a:r>
            <a:r>
              <a:rPr lang="fr-FR" sz="1400" i="1" dirty="0">
                <a:solidFill>
                  <a:srgbClr val="000000"/>
                </a:solidFill>
              </a:rPr>
              <a:t>Background layout…</a:t>
            </a:r>
          </a:p>
          <a:p>
            <a:pPr algn="r"/>
            <a:endParaRPr lang="fr-FR" sz="1400" dirty="0">
              <a:solidFill>
                <a:srgbClr val="000000"/>
              </a:solidFill>
            </a:endParaRPr>
          </a:p>
          <a:p>
            <a:pPr algn="r"/>
            <a:r>
              <a:rPr lang="fr-FR" sz="1400" dirty="0">
                <a:solidFill>
                  <a:srgbClr val="000000"/>
                </a:solidFill>
              </a:rPr>
              <a:t>Select </a:t>
            </a:r>
            <a:r>
              <a:rPr lang="fr-FR" sz="1400" i="1" dirty="0">
                <a:solidFill>
                  <a:srgbClr val="000000"/>
                </a:solidFill>
              </a:rPr>
              <a:t>Filling with image or texture</a:t>
            </a:r>
          </a:p>
          <a:p>
            <a:pPr algn="r"/>
            <a:endParaRPr lang="fr-FR" sz="1400" dirty="0">
              <a:solidFill>
                <a:srgbClr val="000000"/>
              </a:solidFill>
            </a:endParaRPr>
          </a:p>
          <a:p>
            <a:pPr algn="r"/>
            <a:r>
              <a:rPr lang="fr-FR" sz="1400" i="1" dirty="0">
                <a:solidFill>
                  <a:srgbClr val="000000"/>
                </a:solidFill>
              </a:rPr>
              <a:t>Insert from… File</a:t>
            </a:r>
            <a:r>
              <a:rPr lang="fr-FR" sz="1400" dirty="0">
                <a:solidFill>
                  <a:srgbClr val="000000"/>
                </a:solidFill>
              </a:rPr>
              <a:t> button</a:t>
            </a:r>
          </a:p>
          <a:p>
            <a:pPr algn="r"/>
            <a:endParaRPr lang="fr-FR" sz="1400" dirty="0">
              <a:solidFill>
                <a:srgbClr val="000000"/>
              </a:solidFill>
            </a:endParaRPr>
          </a:p>
          <a:p>
            <a:pPr algn="r"/>
            <a:r>
              <a:rPr lang="fr-FR" sz="1400" dirty="0">
                <a:solidFill>
                  <a:srgbClr val="000000"/>
                </a:solidFill>
              </a:rPr>
              <a:t>Select your picture</a:t>
            </a:r>
          </a:p>
          <a:p>
            <a:pPr algn="r"/>
            <a:endParaRPr lang="fr-FR" sz="1400" dirty="0">
              <a:solidFill>
                <a:srgbClr val="000000"/>
              </a:solidFill>
            </a:endParaRPr>
          </a:p>
          <a:p>
            <a:pPr algn="r"/>
            <a:r>
              <a:rPr lang="fr-FR" sz="1400" dirty="0">
                <a:solidFill>
                  <a:srgbClr val="000000"/>
                </a:solidFill>
              </a:rPr>
              <a:t>Close window</a:t>
            </a:r>
          </a:p>
        </p:txBody>
      </p:sp>
      <p:sp>
        <p:nvSpPr>
          <p:cNvPr id="11" name="ZoneTexte 10"/>
          <p:cNvSpPr txBox="1"/>
          <p:nvPr userDrawn="1"/>
        </p:nvSpPr>
        <p:spPr>
          <a:xfrm>
            <a:off x="-1406977" y="5583907"/>
            <a:ext cx="1296791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400" b="1" dirty="0">
                <a:solidFill>
                  <a:srgbClr val="000000"/>
                </a:solidFill>
              </a:rPr>
              <a:t>On a </a:t>
            </a:r>
            <a:r>
              <a:rPr lang="fr-FR" sz="1400" b="1" dirty="0" err="1">
                <a:solidFill>
                  <a:srgbClr val="000000"/>
                </a:solidFill>
              </a:rPr>
              <a:t>dark</a:t>
            </a:r>
            <a:r>
              <a:rPr lang="fr-FR" sz="1400" b="1" dirty="0">
                <a:solidFill>
                  <a:srgbClr val="000000"/>
                </a:solidFill>
              </a:rPr>
              <a:t> background </a:t>
            </a:r>
            <a:r>
              <a:rPr lang="fr-FR" sz="1400" b="1" dirty="0" err="1">
                <a:solidFill>
                  <a:srgbClr val="000000"/>
                </a:solidFill>
              </a:rPr>
              <a:t>remove</a:t>
            </a:r>
            <a:r>
              <a:rPr lang="fr-FR" sz="1400" b="1" dirty="0">
                <a:solidFill>
                  <a:srgbClr val="000000"/>
                </a:solidFill>
              </a:rPr>
              <a:t> the STOP Hunger </a:t>
            </a:r>
            <a:r>
              <a:rPr lang="fr-FR" sz="1400" b="1" dirty="0" err="1">
                <a:solidFill>
                  <a:srgbClr val="000000"/>
                </a:solidFill>
              </a:rPr>
              <a:t>color</a:t>
            </a:r>
            <a:r>
              <a:rPr lang="fr-FR" sz="1400" b="1" dirty="0">
                <a:solidFill>
                  <a:srgbClr val="000000"/>
                </a:solidFill>
              </a:rPr>
              <a:t> logo</a:t>
            </a:r>
            <a:endParaRPr lang="fr-FR" sz="1400" dirty="0">
              <a:solidFill>
                <a:srgbClr val="000000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7" y="6029325"/>
            <a:ext cx="627900" cy="46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1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_blue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>
          <a:xfrm>
            <a:off x="459140" y="2613431"/>
            <a:ext cx="8970000" cy="553998"/>
          </a:xfrm>
          <a:noFill/>
        </p:spPr>
        <p:txBody>
          <a:bodyPr lIns="0" tIns="0" rIns="0" bIns="0">
            <a:sp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>
          <a:xfrm>
            <a:off x="484981" y="3719651"/>
            <a:ext cx="8936038" cy="360363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fr-FR" sz="1600" b="0" kern="1200" smtClean="0">
                <a:solidFill>
                  <a:schemeClr val="bg1"/>
                </a:solidFill>
                <a:latin typeface="Arial" charset="0"/>
              </a:defRPr>
            </a:lvl1pPr>
            <a:lvl2pPr marL="190500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38187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92212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r>
              <a:rPr lang="fr-FR" altLang="fr-FR" dirty="0" err="1"/>
              <a:t>Month</a:t>
            </a:r>
            <a:r>
              <a:rPr lang="fr-FR" altLang="fr-FR" dirty="0"/>
              <a:t> XX, 2012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359" y="1115221"/>
            <a:ext cx="2142780" cy="84797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7" y="6029325"/>
            <a:ext cx="627900" cy="46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673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26852" y="954156"/>
            <a:ext cx="5794166" cy="5202000"/>
          </a:xfrm>
          <a:solidFill>
            <a:schemeClr val="bg2"/>
          </a:solidFill>
        </p:spPr>
        <p:txBody>
          <a:bodyPr lIns="72000" anchor="ctr" anchorCtr="0"/>
          <a:lstStyle>
            <a:lvl1pPr marL="457200" indent="-45720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 b="1"/>
            </a:lvl1pPr>
            <a:lvl2pPr marL="719138" indent="0">
              <a:buClr>
                <a:schemeClr val="tx1"/>
              </a:buClr>
              <a:buFont typeface="+mj-lt"/>
              <a:buNone/>
              <a:defRPr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4981" y="352425"/>
            <a:ext cx="8936038" cy="550508"/>
          </a:xfrm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SUMMARY</a:t>
            </a:r>
          </a:p>
        </p:txBody>
      </p:sp>
      <p:sp>
        <p:nvSpPr>
          <p:cNvPr id="10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80" y="954156"/>
            <a:ext cx="3064670" cy="5202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2" name="ZoneTexte 11"/>
          <p:cNvSpPr txBox="1"/>
          <p:nvPr userDrawn="1"/>
        </p:nvSpPr>
        <p:spPr>
          <a:xfrm>
            <a:off x="-1287694" y="1872114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pPr algn="r"/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b="1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27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head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6"/>
            <a:ext cx="5716586" cy="5803729"/>
          </a:xfrm>
          <a:solidFill>
            <a:schemeClr val="bg2"/>
          </a:solidFill>
        </p:spPr>
        <p:txBody>
          <a:bodyPr lIns="72000" anchor="ctr" anchorCtr="0"/>
          <a:lstStyle>
            <a:lvl1pPr marL="457200" indent="-45720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488421" y="352425"/>
            <a:ext cx="3147300" cy="58134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wordArtVert" lIns="0" rIns="72000" anchor="ctr"/>
          <a:lstStyle/>
          <a:p>
            <a:pPr algn="ctr"/>
            <a:r>
              <a:rPr lang="fr-FR" sz="5400" dirty="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71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_head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6"/>
            <a:ext cx="5716586" cy="5803729"/>
          </a:xfrm>
          <a:solidFill>
            <a:schemeClr val="bg2"/>
          </a:solidFill>
        </p:spPr>
        <p:txBody>
          <a:bodyPr lIns="72000" anchor="ctr" anchorCtr="0"/>
          <a:lstStyle>
            <a:lvl1pPr marL="457200" indent="-45720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488420" y="352425"/>
            <a:ext cx="3147300" cy="58134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wordArtVert" lIns="0" rIns="72000" anchor="ctr"/>
          <a:lstStyle/>
          <a:p>
            <a:pPr algn="ctr"/>
            <a:r>
              <a:rPr lang="fr-FR" sz="5400" dirty="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97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head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79" y="954156"/>
            <a:ext cx="8936040" cy="2186812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488422" y="3212977"/>
            <a:ext cx="8932597" cy="2943178"/>
          </a:xfrm>
          <a:solidFill>
            <a:schemeClr val="bg2"/>
          </a:solidFill>
        </p:spPr>
        <p:txBody>
          <a:bodyPr lIns="108000" tIns="108000" anchor="t" anchorCtr="0"/>
          <a:lstStyle>
            <a:lvl1pPr marL="0" indent="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defRPr lang="fr-FR" sz="4000" b="1" dirty="0" smtClean="0">
                <a:solidFill>
                  <a:srgbClr val="2A295C"/>
                </a:solidFill>
                <a:latin typeface="+mn-lt"/>
                <a:ea typeface="+mn-ea"/>
                <a:cs typeface="+mn-cs"/>
              </a:defRPr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CHAPTER NUMBER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-1287694" y="1872114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pPr algn="r"/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b="1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52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head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79" y="954156"/>
            <a:ext cx="3074989" cy="5202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627040" y="954155"/>
            <a:ext cx="5793978" cy="5202000"/>
          </a:xfrm>
          <a:solidFill>
            <a:schemeClr val="bg2"/>
          </a:solidFill>
        </p:spPr>
        <p:txBody>
          <a:bodyPr lIns="72000" anchor="ctr" anchorCtr="0"/>
          <a:lstStyle>
            <a:lvl1pPr marL="0" indent="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defRPr/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CHAPTER NUMBER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-1287694" y="1872114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pPr algn="r"/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b="1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2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_head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5"/>
            <a:ext cx="5716586" cy="5803730"/>
          </a:xfrm>
          <a:solidFill>
            <a:schemeClr val="bg2"/>
          </a:solidFill>
        </p:spPr>
        <p:txBody>
          <a:bodyPr lIns="72000" anchor="ctr" anchorCtr="0"/>
          <a:lstStyle>
            <a:lvl1pPr marL="0" indent="0" algn="l" rtl="0" eaLnBrk="1" fontAlgn="base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  <a:defRPr lang="fr-FR" sz="4000" b="1" dirty="0" smtClean="0">
                <a:solidFill>
                  <a:srgbClr val="2A295C"/>
                </a:solidFill>
                <a:latin typeface="+mn-lt"/>
                <a:ea typeface="+mn-ea"/>
                <a:cs typeface="+mn-cs"/>
              </a:defRPr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4"/>
          </p:nvPr>
        </p:nvSpPr>
        <p:spPr bwMode="ltGray">
          <a:xfrm>
            <a:off x="479822" y="352425"/>
            <a:ext cx="3147031" cy="5803730"/>
          </a:xfrm>
          <a:solidFill>
            <a:schemeClr val="accent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defRPr kumimoji="0" lang="fr-FR" sz="19200" b="0" i="0" u="none" strike="noStrike" kern="1200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defRPr>
            </a:lvl1pPr>
            <a:lvl2pPr>
              <a:defRPr lang="fr-F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</a:lstStyle>
          <a:p>
            <a:pPr marL="0" marR="0" lvl="0" indent="0" algn="ctr" defTabSz="91440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/>
              <a:t>Modifiez les styles du texte du masqu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992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head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6"/>
            <a:ext cx="5716586" cy="5803729"/>
          </a:xfrm>
          <a:solidFill>
            <a:schemeClr val="bg2"/>
          </a:solidFill>
        </p:spPr>
        <p:txBody>
          <a:bodyPr lIns="72000" anchor="ctr" anchorCtr="0"/>
          <a:lstStyle>
            <a:lvl1pPr marL="457200" indent="-45720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488421" y="352425"/>
            <a:ext cx="3147300" cy="58134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wordArtVert" lIns="0" rIns="72000" anchor="ctr"/>
          <a:lstStyle/>
          <a:p>
            <a:pPr algn="ctr"/>
            <a:r>
              <a:rPr lang="fr-FR" sz="54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655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_head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5"/>
            <a:ext cx="5716586" cy="5803730"/>
          </a:xfrm>
          <a:solidFill>
            <a:schemeClr val="bg2"/>
          </a:solidFill>
        </p:spPr>
        <p:txBody>
          <a:bodyPr lIns="72000" anchor="ctr" anchorCtr="0"/>
          <a:lstStyle>
            <a:lvl1pPr marL="0" indent="0" algn="l" rtl="0" eaLnBrk="1" fontAlgn="base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  <a:defRPr lang="fr-FR" sz="4000" b="1" dirty="0" smtClean="0">
                <a:solidFill>
                  <a:srgbClr val="2A295C"/>
                </a:solidFill>
                <a:latin typeface="+mn-lt"/>
                <a:ea typeface="+mn-ea"/>
                <a:cs typeface="+mn-cs"/>
              </a:defRPr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4"/>
          </p:nvPr>
        </p:nvSpPr>
        <p:spPr bwMode="ltGray">
          <a:xfrm>
            <a:off x="479822" y="352425"/>
            <a:ext cx="3147031" cy="5803730"/>
          </a:xfrm>
          <a:solidFill>
            <a:schemeClr val="tx2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defRPr kumimoji="0" lang="fr-FR" sz="19200" b="0" i="0" u="none" strike="noStrike" kern="1200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defRPr>
            </a:lvl1pPr>
            <a:lvl2pPr>
              <a:defRPr lang="fr-F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</a:lstStyle>
          <a:p>
            <a:pPr marL="0" marR="0" lvl="0" indent="0" algn="ctr" defTabSz="91440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/>
              <a:t>Modifiez les styles du texte du masqu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738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&amp;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450527" y="1573240"/>
            <a:ext cx="9009000" cy="460851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b="0">
                <a:solidFill>
                  <a:schemeClr val="tx2"/>
                </a:solidFill>
              </a:defRPr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>
                <a:solidFill>
                  <a:schemeClr val="tx1"/>
                </a:solidFill>
              </a:defRPr>
            </a:lvl3pPr>
            <a:lvl4pPr marL="1616075" indent="-179388"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21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&amp;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450528" y="1573240"/>
            <a:ext cx="5126542" cy="460851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b="0">
                <a:solidFill>
                  <a:schemeClr val="tx2"/>
                </a:solidFill>
              </a:defRPr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>
                <a:solidFill>
                  <a:schemeClr val="tx1"/>
                </a:solidFill>
              </a:defRPr>
            </a:lvl3pPr>
            <a:lvl4pPr marL="1616075" indent="-179388"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>
          <a:xfrm>
            <a:off x="5971117" y="2838450"/>
            <a:ext cx="3449902" cy="3327400"/>
          </a:xfrm>
          <a:solidFill>
            <a:schemeClr val="bg2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lnSpc>
                <a:spcPct val="100000"/>
              </a:lnSpc>
              <a:buNone/>
              <a:defRPr lang="fr-FR" sz="2000" b="0" kern="1200" smtClean="0">
                <a:solidFill>
                  <a:schemeClr val="tx2"/>
                </a:solidFill>
                <a:latin typeface="Arial" charset="0"/>
              </a:defRPr>
            </a:lvl1pPr>
            <a:lvl2pPr marL="190500" indent="0" algn="ctr">
              <a:buNone/>
              <a:defRPr lang="fr-FR" sz="2000" b="0" kern="1200" smtClean="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algn="ctr">
              <a:defRPr lang="fr-FR" sz="2000" b="0" kern="1200" smtClean="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algn="ctr">
              <a:defRPr lang="fr-FR" sz="2000" b="0" kern="1200" smtClean="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algn="ctr">
              <a:defRPr lang="fr-FR" sz="2000" b="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fr-FR"/>
              <a:t>Modifiez les styles du texte du masque</a:t>
            </a:r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5971116" y="962024"/>
            <a:ext cx="3449902" cy="1819276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 bwMode="gray">
          <a:xfrm>
            <a:off x="484981" y="352425"/>
            <a:ext cx="8936038" cy="550508"/>
          </a:xfrm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1" name="ZoneTexte 10"/>
          <p:cNvSpPr txBox="1"/>
          <p:nvPr userDrawn="1"/>
        </p:nvSpPr>
        <p:spPr>
          <a:xfrm>
            <a:off x="9945554" y="701755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endParaRPr lang="fr-FR" sz="1200" b="1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19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&amp;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EXT AND IMAGE WITH 1 LINE 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80" y="954156"/>
            <a:ext cx="2944500" cy="5202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26852" y="954155"/>
            <a:ext cx="5794166" cy="51912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Clr>
                <a:schemeClr val="accent1"/>
              </a:buClr>
              <a:defRPr lang="fr-FR" dirty="0" smtClean="0"/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lang="fr-FR" dirty="0" smtClean="0"/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 lang="fr-FR" dirty="0" smtClean="0"/>
            </a:lvl3pPr>
            <a:lvl4pPr marL="1616075" indent="-179388">
              <a:buClr>
                <a:schemeClr val="bg2"/>
              </a:buClr>
              <a:defRPr lang="fr-FR" dirty="0" smtClean="0"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9" name="ZoneTexte 8"/>
          <p:cNvSpPr txBox="1"/>
          <p:nvPr userDrawn="1"/>
        </p:nvSpPr>
        <p:spPr>
          <a:xfrm>
            <a:off x="-1287694" y="1872114"/>
            <a:ext cx="1208539" cy="31393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pPr algn="r"/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b="1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8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&amp;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EXT AND FOCUS WITH 1 LINE 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26852" y="954155"/>
            <a:ext cx="5794166" cy="51912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Clr>
                <a:schemeClr val="accent1"/>
              </a:buClr>
              <a:defRPr lang="fr-FR" dirty="0" smtClean="0"/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lang="fr-FR" dirty="0" smtClean="0"/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 lang="fr-FR" dirty="0" smtClean="0"/>
            </a:lvl3pPr>
            <a:lvl4pPr marL="1616075" indent="-179388">
              <a:buClr>
                <a:schemeClr val="bg2"/>
              </a:buClr>
              <a:defRPr lang="fr-FR" dirty="0" smtClean="0"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481542" y="981076"/>
            <a:ext cx="2954602" cy="5165725"/>
          </a:xfrm>
          <a:solidFill>
            <a:schemeClr val="bg2"/>
          </a:solidFill>
        </p:spPr>
        <p:txBody>
          <a:bodyPr lIns="72000" rIns="108000" anchor="ctr" anchorCtr="0"/>
          <a:lstStyle>
            <a:lvl1pPr marL="0" indent="0" algn="r">
              <a:buNone/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65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EXT AND FOCUS AND CHART WITH 1 LINE TITL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450527" y="1573240"/>
            <a:ext cx="9009000" cy="1855760"/>
          </a:xfrm>
        </p:spPr>
        <p:txBody>
          <a:bodyPr/>
          <a:lstStyle>
            <a:lvl1pPr marL="0" indent="0">
              <a:buClr>
                <a:schemeClr val="accent1"/>
              </a:buClr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b="0"/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/>
            </a:lvl3pPr>
            <a:lvl4pPr marL="1616075" indent="-179388">
              <a:buClr>
                <a:schemeClr val="bg2"/>
              </a:buClr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 bwMode="gray">
          <a:xfrm>
            <a:off x="484981" y="3429000"/>
            <a:ext cx="2951163" cy="230505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buFontTx/>
              <a:buNone/>
              <a:defRPr sz="4000" b="0">
                <a:solidFill>
                  <a:schemeClr val="bg1"/>
                </a:solidFill>
              </a:defRPr>
            </a:lvl1pPr>
            <a:lvl2pPr marL="3175" indent="0" algn="ctr">
              <a:buFontTx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1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9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4982" y="352423"/>
            <a:ext cx="6026149" cy="846000"/>
          </a:xfrm>
          <a:ln>
            <a:noFill/>
          </a:ln>
        </p:spPr>
        <p:txBody>
          <a:bodyPr tIns="126000" bIns="90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1"/>
          </p:nvPr>
        </p:nvSpPr>
        <p:spPr>
          <a:xfrm>
            <a:off x="6581643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9" name="Espace réservé pour une image  7"/>
          <p:cNvSpPr>
            <a:spLocks noGrp="1"/>
          </p:cNvSpPr>
          <p:nvPr>
            <p:ph type="pic" sz="quarter" idx="12"/>
          </p:nvPr>
        </p:nvSpPr>
        <p:spPr>
          <a:xfrm>
            <a:off x="8036587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ZoneTexte 9"/>
          <p:cNvSpPr txBox="1"/>
          <p:nvPr userDrawn="1"/>
        </p:nvSpPr>
        <p:spPr>
          <a:xfrm>
            <a:off x="9982288" y="332656"/>
            <a:ext cx="1208539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endParaRPr lang="fr-FR" sz="1200" b="1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488421" y="1567062"/>
            <a:ext cx="8932598" cy="997843"/>
          </a:xfrm>
        </p:spPr>
        <p:txBody>
          <a:bodyPr/>
          <a:lstStyle>
            <a:lvl2pPr marL="623888" indent="-266700">
              <a:tabLst>
                <a:tab pos="1616075" algn="l"/>
                <a:tab pos="2330450" algn="l"/>
                <a:tab pos="8077200" algn="r"/>
              </a:tabLst>
              <a:defRPr/>
            </a:lvl2pPr>
            <a:lvl3pPr marL="896938" indent="-176213">
              <a:tabLst>
                <a:tab pos="1082675" algn="l"/>
                <a:tab pos="2149475" algn="l"/>
                <a:tab pos="8077200" algn="r"/>
              </a:tabLst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573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images_grey_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4982" y="352423"/>
            <a:ext cx="6026149" cy="846000"/>
          </a:xfrm>
          <a:ln>
            <a:noFill/>
          </a:ln>
        </p:spPr>
        <p:txBody>
          <a:bodyPr tIns="126000" bIns="90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488421" y="1268759"/>
            <a:ext cx="8932598" cy="489121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1"/>
          </p:nvPr>
        </p:nvSpPr>
        <p:spPr>
          <a:xfrm>
            <a:off x="6581643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9" name="Espace réservé pour une image  7"/>
          <p:cNvSpPr>
            <a:spLocks noGrp="1"/>
          </p:cNvSpPr>
          <p:nvPr>
            <p:ph type="pic" sz="quarter" idx="12"/>
          </p:nvPr>
        </p:nvSpPr>
        <p:spPr>
          <a:xfrm>
            <a:off x="8036587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ZoneTexte 9"/>
          <p:cNvSpPr txBox="1"/>
          <p:nvPr userDrawn="1"/>
        </p:nvSpPr>
        <p:spPr>
          <a:xfrm>
            <a:off x="9982288" y="332656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endParaRPr lang="fr-FR" sz="1200" b="1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09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25"/>
            <a:ext cx="9906000" cy="2679192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359" y="1115221"/>
            <a:ext cx="2142780" cy="847974"/>
          </a:xfrm>
          <a:prstGeom prst="rect">
            <a:avLst/>
          </a:prstGeom>
        </p:spPr>
      </p:pic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 bwMode="gray">
          <a:xfrm>
            <a:off x="459140" y="2613432"/>
            <a:ext cx="8970000" cy="553999"/>
          </a:xfrm>
          <a:noFill/>
        </p:spPr>
        <p:txBody>
          <a:bodyPr lIns="0" tIns="0" rIns="0" bIns="0">
            <a:spAutoFit/>
          </a:bodyPr>
          <a:lstStyle>
            <a:lvl1pPr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84981" y="3716710"/>
            <a:ext cx="8936038" cy="360363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fr-FR" sz="1600" b="0" kern="1200" smtClean="0">
                <a:solidFill>
                  <a:schemeClr val="tx2"/>
                </a:solidFill>
                <a:latin typeface="Arial" charset="0"/>
              </a:defRPr>
            </a:lvl1pPr>
            <a:lvl2pPr marL="190500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38187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92212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r>
              <a:rPr lang="fr-FR" altLang="fr-FR" dirty="0" err="1"/>
              <a:t>Month</a:t>
            </a:r>
            <a:r>
              <a:rPr lang="fr-FR" altLang="fr-FR" dirty="0"/>
              <a:t> XX, 2012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-1406977" y="369219"/>
            <a:ext cx="1296791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400" b="1" dirty="0">
                <a:solidFill>
                  <a:srgbClr val="000000"/>
                </a:solidFill>
              </a:rPr>
              <a:t>REPLACE</a:t>
            </a:r>
            <a:r>
              <a:rPr lang="fr-FR" sz="1400" dirty="0">
                <a:solidFill>
                  <a:srgbClr val="000000"/>
                </a:solidFill>
              </a:rPr>
              <a:t> </a:t>
            </a:r>
            <a:r>
              <a:rPr lang="fr-FR" sz="1400" b="1" dirty="0">
                <a:solidFill>
                  <a:srgbClr val="000000"/>
                </a:solidFill>
              </a:rPr>
              <a:t>THE IMAGE: </a:t>
            </a:r>
          </a:p>
          <a:p>
            <a:pPr algn="r"/>
            <a:endParaRPr lang="fr-FR" sz="1400" b="1" dirty="0">
              <a:solidFill>
                <a:srgbClr val="000000"/>
              </a:solidFill>
            </a:endParaRPr>
          </a:p>
          <a:p>
            <a:pPr algn="r"/>
            <a:r>
              <a:rPr lang="fr-FR" sz="1400" dirty="0">
                <a:solidFill>
                  <a:srgbClr val="000000"/>
                </a:solidFill>
              </a:rPr>
              <a:t>Right  click &gt; </a:t>
            </a:r>
            <a:r>
              <a:rPr lang="fr-FR" sz="1400" i="1" dirty="0">
                <a:solidFill>
                  <a:srgbClr val="000000"/>
                </a:solidFill>
              </a:rPr>
              <a:t>Background layout…</a:t>
            </a:r>
          </a:p>
          <a:p>
            <a:pPr algn="r"/>
            <a:endParaRPr lang="fr-FR" sz="1400" dirty="0">
              <a:solidFill>
                <a:srgbClr val="000000"/>
              </a:solidFill>
            </a:endParaRPr>
          </a:p>
          <a:p>
            <a:pPr algn="r"/>
            <a:r>
              <a:rPr lang="fr-FR" sz="1400" dirty="0">
                <a:solidFill>
                  <a:srgbClr val="000000"/>
                </a:solidFill>
              </a:rPr>
              <a:t>Select </a:t>
            </a:r>
            <a:r>
              <a:rPr lang="fr-FR" sz="1400" i="1" dirty="0">
                <a:solidFill>
                  <a:srgbClr val="000000"/>
                </a:solidFill>
              </a:rPr>
              <a:t>Filling with image or texture</a:t>
            </a:r>
          </a:p>
          <a:p>
            <a:pPr algn="r"/>
            <a:endParaRPr lang="fr-FR" sz="1400" dirty="0">
              <a:solidFill>
                <a:srgbClr val="000000"/>
              </a:solidFill>
            </a:endParaRPr>
          </a:p>
          <a:p>
            <a:pPr algn="r"/>
            <a:r>
              <a:rPr lang="fr-FR" sz="1400" i="1" dirty="0">
                <a:solidFill>
                  <a:srgbClr val="000000"/>
                </a:solidFill>
              </a:rPr>
              <a:t>Insert from… File</a:t>
            </a:r>
            <a:r>
              <a:rPr lang="fr-FR" sz="1400" dirty="0">
                <a:solidFill>
                  <a:srgbClr val="000000"/>
                </a:solidFill>
              </a:rPr>
              <a:t> button</a:t>
            </a:r>
          </a:p>
          <a:p>
            <a:pPr algn="r"/>
            <a:endParaRPr lang="fr-FR" sz="1400" dirty="0">
              <a:solidFill>
                <a:srgbClr val="000000"/>
              </a:solidFill>
            </a:endParaRPr>
          </a:p>
          <a:p>
            <a:pPr algn="r"/>
            <a:r>
              <a:rPr lang="fr-FR" sz="1400" dirty="0">
                <a:solidFill>
                  <a:srgbClr val="000000"/>
                </a:solidFill>
              </a:rPr>
              <a:t>Select your picture</a:t>
            </a:r>
          </a:p>
          <a:p>
            <a:pPr algn="r"/>
            <a:endParaRPr lang="fr-FR" sz="1400" dirty="0">
              <a:solidFill>
                <a:srgbClr val="000000"/>
              </a:solidFill>
            </a:endParaRPr>
          </a:p>
          <a:p>
            <a:pPr algn="r"/>
            <a:r>
              <a:rPr lang="fr-FR" sz="1400" dirty="0">
                <a:solidFill>
                  <a:srgbClr val="000000"/>
                </a:solidFill>
              </a:rPr>
              <a:t>Close window</a:t>
            </a:r>
          </a:p>
        </p:txBody>
      </p:sp>
      <p:sp>
        <p:nvSpPr>
          <p:cNvPr id="11" name="ZoneTexte 10"/>
          <p:cNvSpPr txBox="1"/>
          <p:nvPr userDrawn="1"/>
        </p:nvSpPr>
        <p:spPr>
          <a:xfrm>
            <a:off x="-1406977" y="5583907"/>
            <a:ext cx="1296791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400" b="1" dirty="0">
                <a:solidFill>
                  <a:srgbClr val="000000"/>
                </a:solidFill>
              </a:rPr>
              <a:t>On a </a:t>
            </a:r>
            <a:r>
              <a:rPr lang="fr-FR" sz="1400" b="1" dirty="0" err="1">
                <a:solidFill>
                  <a:srgbClr val="000000"/>
                </a:solidFill>
              </a:rPr>
              <a:t>dark</a:t>
            </a:r>
            <a:r>
              <a:rPr lang="fr-FR" sz="1400" b="1" dirty="0">
                <a:solidFill>
                  <a:srgbClr val="000000"/>
                </a:solidFill>
              </a:rPr>
              <a:t> background </a:t>
            </a:r>
            <a:r>
              <a:rPr lang="fr-FR" sz="1400" b="1" dirty="0" err="1">
                <a:solidFill>
                  <a:srgbClr val="000000"/>
                </a:solidFill>
              </a:rPr>
              <a:t>remove</a:t>
            </a:r>
            <a:r>
              <a:rPr lang="fr-FR" sz="1400" b="1" dirty="0">
                <a:solidFill>
                  <a:srgbClr val="000000"/>
                </a:solidFill>
              </a:rPr>
              <a:t> the STOP Hunger </a:t>
            </a:r>
            <a:r>
              <a:rPr lang="fr-FR" sz="1400" b="1" dirty="0" err="1">
                <a:solidFill>
                  <a:srgbClr val="000000"/>
                </a:solidFill>
              </a:rPr>
              <a:t>color</a:t>
            </a:r>
            <a:r>
              <a:rPr lang="fr-FR" sz="1400" b="1" dirty="0">
                <a:solidFill>
                  <a:srgbClr val="000000"/>
                </a:solidFill>
              </a:rPr>
              <a:t> logo</a:t>
            </a:r>
            <a:endParaRPr lang="fr-FR" sz="1400" dirty="0">
              <a:solidFill>
                <a:srgbClr val="000000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7" y="6029325"/>
            <a:ext cx="627900" cy="46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22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_head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6"/>
            <a:ext cx="5716586" cy="5803729"/>
          </a:xfrm>
          <a:solidFill>
            <a:schemeClr val="bg2"/>
          </a:solidFill>
        </p:spPr>
        <p:txBody>
          <a:bodyPr lIns="72000" anchor="ctr" anchorCtr="0"/>
          <a:lstStyle>
            <a:lvl1pPr marL="457200" indent="-45720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488420" y="352425"/>
            <a:ext cx="3147300" cy="58134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wordArtVert" lIns="0" rIns="72000" anchor="ctr"/>
          <a:lstStyle/>
          <a:p>
            <a:pPr algn="ctr"/>
            <a:r>
              <a:rPr lang="fr-FR" sz="54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76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_blue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>
          <a:xfrm>
            <a:off x="459140" y="2613431"/>
            <a:ext cx="8970000" cy="553998"/>
          </a:xfrm>
          <a:noFill/>
        </p:spPr>
        <p:txBody>
          <a:bodyPr lIns="0" tIns="0" rIns="0" bIns="0">
            <a:sp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>
          <a:xfrm>
            <a:off x="484981" y="3719651"/>
            <a:ext cx="8936038" cy="360363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fr-FR" sz="1600" b="0" kern="1200" smtClean="0">
                <a:solidFill>
                  <a:schemeClr val="bg1"/>
                </a:solidFill>
                <a:latin typeface="Arial" charset="0"/>
              </a:defRPr>
            </a:lvl1pPr>
            <a:lvl2pPr marL="190500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38187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92212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r>
              <a:rPr lang="fr-FR" altLang="fr-FR" dirty="0" err="1"/>
              <a:t>Month</a:t>
            </a:r>
            <a:r>
              <a:rPr lang="fr-FR" altLang="fr-FR" dirty="0"/>
              <a:t> XX, 2012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359" y="1115221"/>
            <a:ext cx="2142780" cy="84797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7" y="6029325"/>
            <a:ext cx="627900" cy="46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69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26852" y="954156"/>
            <a:ext cx="5794166" cy="5202000"/>
          </a:xfrm>
          <a:solidFill>
            <a:schemeClr val="bg2"/>
          </a:solidFill>
        </p:spPr>
        <p:txBody>
          <a:bodyPr lIns="72000" anchor="ctr" anchorCtr="0"/>
          <a:lstStyle>
            <a:lvl1pPr marL="457200" indent="-45720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 b="1"/>
            </a:lvl1pPr>
            <a:lvl2pPr marL="719138" indent="0">
              <a:buClr>
                <a:schemeClr val="tx1"/>
              </a:buClr>
              <a:buFont typeface="+mj-lt"/>
              <a:buNone/>
              <a:defRPr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4981" y="352425"/>
            <a:ext cx="8936038" cy="550508"/>
          </a:xfrm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SUMMARY</a:t>
            </a:r>
          </a:p>
        </p:txBody>
      </p:sp>
      <p:sp>
        <p:nvSpPr>
          <p:cNvPr id="10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80" y="954156"/>
            <a:ext cx="3064670" cy="5202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2" name="ZoneTexte 11"/>
          <p:cNvSpPr txBox="1"/>
          <p:nvPr userDrawn="1"/>
        </p:nvSpPr>
        <p:spPr>
          <a:xfrm>
            <a:off x="-1287694" y="1872114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pPr algn="r"/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b="1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5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head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6"/>
            <a:ext cx="5716586" cy="5803729"/>
          </a:xfrm>
          <a:solidFill>
            <a:schemeClr val="bg2"/>
          </a:solidFill>
        </p:spPr>
        <p:txBody>
          <a:bodyPr lIns="72000" anchor="ctr" anchorCtr="0"/>
          <a:lstStyle>
            <a:lvl1pPr marL="457200" indent="-45720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488421" y="352425"/>
            <a:ext cx="3147300" cy="58134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wordArtVert" lIns="0" rIns="72000" anchor="ctr"/>
          <a:lstStyle/>
          <a:p>
            <a:pPr algn="ctr"/>
            <a:r>
              <a:rPr lang="fr-FR" sz="5400" dirty="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15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_head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6"/>
            <a:ext cx="5716586" cy="5803729"/>
          </a:xfrm>
          <a:solidFill>
            <a:schemeClr val="bg2"/>
          </a:solidFill>
        </p:spPr>
        <p:txBody>
          <a:bodyPr lIns="72000" anchor="ctr" anchorCtr="0"/>
          <a:lstStyle>
            <a:lvl1pPr marL="457200" indent="-45720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488420" y="352425"/>
            <a:ext cx="3147300" cy="58134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wordArtVert" lIns="0" rIns="72000" anchor="ctr"/>
          <a:lstStyle/>
          <a:p>
            <a:pPr algn="ctr"/>
            <a:r>
              <a:rPr lang="fr-FR" sz="5400" dirty="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0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head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79" y="954156"/>
            <a:ext cx="8936040" cy="2186812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488422" y="3212977"/>
            <a:ext cx="8932597" cy="2943178"/>
          </a:xfrm>
          <a:solidFill>
            <a:schemeClr val="bg2"/>
          </a:solidFill>
        </p:spPr>
        <p:txBody>
          <a:bodyPr lIns="108000" tIns="108000" anchor="t" anchorCtr="0"/>
          <a:lstStyle>
            <a:lvl1pPr marL="0" indent="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defRPr lang="fr-FR" sz="4000" b="1" dirty="0" smtClean="0">
                <a:solidFill>
                  <a:srgbClr val="2A295C"/>
                </a:solidFill>
                <a:latin typeface="+mn-lt"/>
                <a:ea typeface="+mn-ea"/>
                <a:cs typeface="+mn-cs"/>
              </a:defRPr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CHAPTER NUMBER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-1287694" y="1872114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pPr algn="r"/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b="1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41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head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79" y="954156"/>
            <a:ext cx="3074989" cy="5202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627040" y="954155"/>
            <a:ext cx="5793978" cy="5202000"/>
          </a:xfrm>
          <a:solidFill>
            <a:schemeClr val="bg2"/>
          </a:solidFill>
        </p:spPr>
        <p:txBody>
          <a:bodyPr lIns="72000" anchor="ctr" anchorCtr="0"/>
          <a:lstStyle>
            <a:lvl1pPr marL="0" indent="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defRPr/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CHAPTER NUMBER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-1287694" y="1872114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pPr algn="r"/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b="1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08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_head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5"/>
            <a:ext cx="5716586" cy="5803730"/>
          </a:xfrm>
          <a:solidFill>
            <a:schemeClr val="bg2"/>
          </a:solidFill>
        </p:spPr>
        <p:txBody>
          <a:bodyPr lIns="72000" anchor="ctr" anchorCtr="0"/>
          <a:lstStyle>
            <a:lvl1pPr marL="0" indent="0" algn="l" rtl="0" eaLnBrk="1" fontAlgn="base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  <a:defRPr lang="fr-FR" sz="4000" b="1" dirty="0" smtClean="0">
                <a:solidFill>
                  <a:srgbClr val="2A295C"/>
                </a:solidFill>
                <a:latin typeface="+mn-lt"/>
                <a:ea typeface="+mn-ea"/>
                <a:cs typeface="+mn-cs"/>
              </a:defRPr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4"/>
          </p:nvPr>
        </p:nvSpPr>
        <p:spPr bwMode="ltGray">
          <a:xfrm>
            <a:off x="479822" y="352425"/>
            <a:ext cx="3147031" cy="5803730"/>
          </a:xfrm>
          <a:solidFill>
            <a:schemeClr val="accent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defRPr kumimoji="0" lang="fr-FR" sz="19200" b="0" i="0" u="none" strike="noStrike" kern="1200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defRPr>
            </a:lvl1pPr>
            <a:lvl2pPr>
              <a:defRPr lang="fr-F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</a:lstStyle>
          <a:p>
            <a:pPr marL="0" marR="0" lvl="0" indent="0" algn="ctr" defTabSz="91440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/>
              <a:t>Modifiez les styles du texte du masqu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74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_head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5"/>
            <a:ext cx="5716586" cy="5803730"/>
          </a:xfrm>
          <a:solidFill>
            <a:schemeClr val="bg2"/>
          </a:solidFill>
        </p:spPr>
        <p:txBody>
          <a:bodyPr lIns="72000" anchor="ctr" anchorCtr="0"/>
          <a:lstStyle>
            <a:lvl1pPr marL="0" indent="0" algn="l" rtl="0" eaLnBrk="1" fontAlgn="base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  <a:defRPr lang="fr-FR" sz="4000" b="1" dirty="0" smtClean="0">
                <a:solidFill>
                  <a:srgbClr val="2A295C"/>
                </a:solidFill>
                <a:latin typeface="+mn-lt"/>
                <a:ea typeface="+mn-ea"/>
                <a:cs typeface="+mn-cs"/>
              </a:defRPr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4"/>
          </p:nvPr>
        </p:nvSpPr>
        <p:spPr bwMode="ltGray">
          <a:xfrm>
            <a:off x="479822" y="352425"/>
            <a:ext cx="3147031" cy="5803730"/>
          </a:xfrm>
          <a:solidFill>
            <a:schemeClr val="tx2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defRPr kumimoji="0" lang="fr-FR" sz="19200" b="0" i="0" u="none" strike="noStrike" kern="1200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defRPr>
            </a:lvl1pPr>
            <a:lvl2pPr>
              <a:defRPr lang="fr-F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</a:lstStyle>
          <a:p>
            <a:pPr marL="0" marR="0" lvl="0" indent="0" algn="ctr" defTabSz="91440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/>
              <a:t>Modifiez les styles du texte du masqu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55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&amp;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450527" y="1573240"/>
            <a:ext cx="9009000" cy="460851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b="0">
                <a:solidFill>
                  <a:schemeClr val="tx2"/>
                </a:solidFill>
              </a:defRPr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>
                <a:solidFill>
                  <a:schemeClr val="tx1"/>
                </a:solidFill>
              </a:defRPr>
            </a:lvl3pPr>
            <a:lvl4pPr marL="1616075" indent="-179388"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77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&amp;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450528" y="1573240"/>
            <a:ext cx="5126542" cy="460851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b="0">
                <a:solidFill>
                  <a:schemeClr val="tx2"/>
                </a:solidFill>
              </a:defRPr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>
                <a:solidFill>
                  <a:schemeClr val="tx1"/>
                </a:solidFill>
              </a:defRPr>
            </a:lvl3pPr>
            <a:lvl4pPr marL="1616075" indent="-179388"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>
          <a:xfrm>
            <a:off x="5971117" y="2838450"/>
            <a:ext cx="3449902" cy="3327400"/>
          </a:xfrm>
          <a:solidFill>
            <a:schemeClr val="bg2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lnSpc>
                <a:spcPct val="100000"/>
              </a:lnSpc>
              <a:buNone/>
              <a:defRPr lang="fr-FR" sz="2000" b="0" kern="1200" smtClean="0">
                <a:solidFill>
                  <a:schemeClr val="tx2"/>
                </a:solidFill>
                <a:latin typeface="Arial" charset="0"/>
              </a:defRPr>
            </a:lvl1pPr>
            <a:lvl2pPr marL="190500" indent="0" algn="ctr">
              <a:buNone/>
              <a:defRPr lang="fr-FR" sz="2000" b="0" kern="1200" smtClean="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algn="ctr">
              <a:defRPr lang="fr-FR" sz="2000" b="0" kern="1200" smtClean="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algn="ctr">
              <a:defRPr lang="fr-FR" sz="2000" b="0" kern="1200" smtClean="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algn="ctr">
              <a:defRPr lang="fr-FR" sz="2000" b="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fr-FR"/>
              <a:t>Modifiez les styles du texte du masque</a:t>
            </a:r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5971116" y="962024"/>
            <a:ext cx="3449902" cy="1819276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 bwMode="gray">
          <a:xfrm>
            <a:off x="484981" y="352425"/>
            <a:ext cx="8936038" cy="550508"/>
          </a:xfrm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1" name="ZoneTexte 10"/>
          <p:cNvSpPr txBox="1"/>
          <p:nvPr userDrawn="1"/>
        </p:nvSpPr>
        <p:spPr>
          <a:xfrm>
            <a:off x="9945554" y="701755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endParaRPr lang="fr-FR" sz="1200" b="1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74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head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79" y="954156"/>
            <a:ext cx="8936040" cy="2186812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488422" y="3212977"/>
            <a:ext cx="8932597" cy="2943178"/>
          </a:xfrm>
          <a:solidFill>
            <a:schemeClr val="bg2"/>
          </a:solidFill>
        </p:spPr>
        <p:txBody>
          <a:bodyPr lIns="108000" tIns="108000" anchor="t" anchorCtr="0"/>
          <a:lstStyle>
            <a:lvl1pPr marL="0" indent="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defRPr lang="fr-FR" sz="4000" b="1" dirty="0" smtClean="0">
                <a:solidFill>
                  <a:srgbClr val="2A295C"/>
                </a:solidFill>
                <a:latin typeface="+mn-lt"/>
                <a:ea typeface="+mn-ea"/>
                <a:cs typeface="+mn-cs"/>
              </a:defRPr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CHAPTER NUMBER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-1287694" y="1872114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/>
            <a:r>
              <a:rPr lang="fr-FR" sz="1200" b="1" i="0" baseline="0" dirty="0">
                <a:solidFill>
                  <a:schemeClr val="tx1"/>
                </a:solidFill>
              </a:rPr>
              <a:t>TO</a:t>
            </a:r>
          </a:p>
          <a:p>
            <a:pPr lvl="0" algn="r"/>
            <a:r>
              <a:rPr lang="fr-FR" sz="1200" b="1" dirty="0">
                <a:solidFill>
                  <a:schemeClr val="tx1"/>
                </a:solidFill>
              </a:rPr>
              <a:t>REPLACE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br>
              <a:rPr lang="fr-FR" sz="1200" dirty="0">
                <a:solidFill>
                  <a:schemeClr val="tx1"/>
                </a:solidFill>
              </a:rPr>
            </a:br>
            <a:r>
              <a:rPr lang="fr-FR" sz="1200" dirty="0">
                <a:solidFill>
                  <a:schemeClr val="tx1"/>
                </a:solidFill>
              </a:rPr>
              <a:t>AN IMAGE: </a:t>
            </a:r>
            <a:r>
              <a:rPr lang="fr-FR" sz="1200" b="1" dirty="0">
                <a:solidFill>
                  <a:schemeClr val="tx1"/>
                </a:solidFill>
              </a:rPr>
              <a:t>Click on</a:t>
            </a:r>
            <a:r>
              <a:rPr lang="fr-FR" sz="1200" b="1" baseline="0" dirty="0">
                <a:solidFill>
                  <a:schemeClr val="tx1"/>
                </a:solidFill>
              </a:rPr>
              <a:t> the image and </a:t>
            </a:r>
            <a:r>
              <a:rPr lang="fr-FR" sz="1200" b="1" baseline="0" dirty="0" err="1">
                <a:solidFill>
                  <a:schemeClr val="tx1"/>
                </a:solidFill>
              </a:rPr>
              <a:t>delete</a:t>
            </a:r>
            <a:r>
              <a:rPr lang="fr-FR" sz="1200" b="1" baseline="0" dirty="0">
                <a:solidFill>
                  <a:schemeClr val="tx1"/>
                </a:solidFill>
              </a:rPr>
              <a:t> </a:t>
            </a:r>
          </a:p>
          <a:p>
            <a:pPr lvl="0" algn="r"/>
            <a:endParaRPr lang="fr-FR" sz="1200" b="1" baseline="0" dirty="0">
              <a:solidFill>
                <a:schemeClr val="tx1"/>
              </a:solidFill>
            </a:endParaRPr>
          </a:p>
          <a:p>
            <a:pPr lvl="0" algn="r"/>
            <a:r>
              <a:rPr lang="fr-FR" sz="1200" dirty="0" err="1">
                <a:solidFill>
                  <a:schemeClr val="tx1"/>
                </a:solidFill>
              </a:rPr>
              <a:t>then</a:t>
            </a:r>
            <a:r>
              <a:rPr lang="fr-FR" sz="1200" dirty="0">
                <a:solidFill>
                  <a:schemeClr val="tx1"/>
                </a:solidFill>
              </a:rPr>
              <a:t> click on the photo </a:t>
            </a:r>
            <a:r>
              <a:rPr lang="fr-FR" sz="1200" dirty="0" err="1">
                <a:solidFill>
                  <a:schemeClr val="tx1"/>
                </a:solidFill>
              </a:rPr>
              <a:t>icon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  <a:p>
            <a:pPr lvl="0" algn="r"/>
            <a:endParaRPr lang="fr-FR" sz="1200" dirty="0">
              <a:solidFill>
                <a:schemeClr val="tx1"/>
              </a:solidFill>
            </a:endParaRPr>
          </a:p>
          <a:p>
            <a:pPr lvl="0" algn="r"/>
            <a:r>
              <a:rPr lang="fr-FR" sz="1200" dirty="0">
                <a:solidFill>
                  <a:schemeClr val="tx1"/>
                </a:solidFill>
              </a:rPr>
              <a:t>Select your photo and</a:t>
            </a:r>
            <a:r>
              <a:rPr lang="fr-FR" sz="1200" baseline="0" dirty="0">
                <a:solidFill>
                  <a:schemeClr val="tx1"/>
                </a:solidFill>
              </a:rPr>
              <a:t> insert</a:t>
            </a:r>
          </a:p>
          <a:p>
            <a:pPr lvl="0" algn="r"/>
            <a:endParaRPr lang="fr-FR" sz="1200" baseline="0" dirty="0">
              <a:solidFill>
                <a:schemeClr val="tx1"/>
              </a:solidFill>
            </a:endParaRPr>
          </a:p>
          <a:p>
            <a:pPr lvl="0" algn="r"/>
            <a:r>
              <a:rPr lang="fr-FR" sz="1200" baseline="0" dirty="0" err="1">
                <a:solidFill>
                  <a:schemeClr val="tx1"/>
                </a:solidFill>
              </a:rPr>
              <a:t>Resize</a:t>
            </a:r>
            <a:r>
              <a:rPr lang="fr-FR" sz="1200" baseline="0" dirty="0">
                <a:solidFill>
                  <a:schemeClr val="tx1"/>
                </a:solidFill>
              </a:rPr>
              <a:t> photo if </a:t>
            </a:r>
            <a:r>
              <a:rPr lang="fr-FR" sz="1200" baseline="0" dirty="0" err="1">
                <a:solidFill>
                  <a:schemeClr val="tx1"/>
                </a:solidFill>
              </a:rPr>
              <a:t>needed</a:t>
            </a:r>
            <a:r>
              <a:rPr lang="fr-FR" sz="1200" baseline="0" dirty="0">
                <a:solidFill>
                  <a:schemeClr val="tx1"/>
                </a:solidFill>
              </a:rPr>
              <a:t> by </a:t>
            </a:r>
            <a:r>
              <a:rPr lang="fr-FR" sz="1200" baseline="0" dirty="0" err="1">
                <a:solidFill>
                  <a:schemeClr val="tx1"/>
                </a:solidFill>
              </a:rPr>
              <a:t>cropping</a:t>
            </a:r>
            <a:r>
              <a:rPr lang="fr-FR" sz="1200" baseline="0" dirty="0">
                <a:solidFill>
                  <a:schemeClr val="tx1"/>
                </a:solidFill>
              </a:rPr>
              <a:t> and </a:t>
            </a:r>
            <a:r>
              <a:rPr lang="fr-FR" sz="1200" baseline="0" dirty="0" err="1">
                <a:solidFill>
                  <a:schemeClr val="tx1"/>
                </a:solidFill>
              </a:rPr>
              <a:t>sliding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r>
              <a:rPr lang="fr-FR" sz="1200" baseline="0" dirty="0" err="1">
                <a:solidFill>
                  <a:schemeClr val="tx1"/>
                </a:solidFill>
              </a:rPr>
              <a:t>it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endParaRPr lang="fr-FR" sz="1200" dirty="0">
              <a:solidFill>
                <a:schemeClr val="tx1"/>
              </a:solidFill>
            </a:endParaRPr>
          </a:p>
          <a:p>
            <a:pPr algn="r"/>
            <a:endParaRPr lang="fr-FR" sz="1200" dirty="0">
              <a:solidFill>
                <a:schemeClr val="tx1"/>
              </a:solidFill>
            </a:endParaRPr>
          </a:p>
          <a:p>
            <a:pPr algn="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126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&amp;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EXT AND IMAGE WITH 1 LINE 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80" y="954156"/>
            <a:ext cx="2944500" cy="5202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26852" y="954155"/>
            <a:ext cx="5794166" cy="51912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Clr>
                <a:schemeClr val="accent1"/>
              </a:buClr>
              <a:defRPr lang="fr-FR" dirty="0" smtClean="0"/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lang="fr-FR" dirty="0" smtClean="0"/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 lang="fr-FR" dirty="0" smtClean="0"/>
            </a:lvl3pPr>
            <a:lvl4pPr marL="1616075" indent="-179388">
              <a:buClr>
                <a:schemeClr val="bg2"/>
              </a:buClr>
              <a:defRPr lang="fr-FR" dirty="0" smtClean="0"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9" name="ZoneTexte 8"/>
          <p:cNvSpPr txBox="1"/>
          <p:nvPr userDrawn="1"/>
        </p:nvSpPr>
        <p:spPr>
          <a:xfrm>
            <a:off x="-1287694" y="1872114"/>
            <a:ext cx="1208539" cy="31393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pPr algn="r"/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b="1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  <a:p>
            <a:pPr algn="r"/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pPr algn="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495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&amp;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EXT AND FOCUS WITH 1 LINE 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26852" y="954155"/>
            <a:ext cx="5794166" cy="51912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Clr>
                <a:schemeClr val="accent1"/>
              </a:buClr>
              <a:defRPr lang="fr-FR" dirty="0" smtClean="0"/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lang="fr-FR" dirty="0" smtClean="0"/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 lang="fr-FR" dirty="0" smtClean="0"/>
            </a:lvl3pPr>
            <a:lvl4pPr marL="1616075" indent="-179388">
              <a:buClr>
                <a:schemeClr val="bg2"/>
              </a:buClr>
              <a:defRPr lang="fr-FR" dirty="0" smtClean="0"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481542" y="981076"/>
            <a:ext cx="2954602" cy="5165725"/>
          </a:xfrm>
          <a:solidFill>
            <a:schemeClr val="bg2"/>
          </a:solidFill>
        </p:spPr>
        <p:txBody>
          <a:bodyPr lIns="72000" rIns="108000" anchor="ctr" anchorCtr="0"/>
          <a:lstStyle>
            <a:lvl1pPr marL="0" indent="0" algn="r">
              <a:buNone/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774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EXT AND FOCUS AND CHART WITH 1 LINE TITL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450527" y="1573240"/>
            <a:ext cx="9009000" cy="1855760"/>
          </a:xfrm>
        </p:spPr>
        <p:txBody>
          <a:bodyPr/>
          <a:lstStyle>
            <a:lvl1pPr marL="0" indent="0">
              <a:buClr>
                <a:schemeClr val="accent1"/>
              </a:buClr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628650" indent="-266700">
              <a:buClr>
                <a:schemeClr val="accent1"/>
              </a:buClr>
              <a:tabLst>
                <a:tab pos="1616075" algn="l"/>
                <a:tab pos="2330450" algn="l"/>
                <a:tab pos="8077200" algn="r"/>
              </a:tabLst>
              <a:defRPr b="0"/>
            </a:lvl2pPr>
            <a:lvl3pPr marL="896938" indent="-176213">
              <a:buClr>
                <a:schemeClr val="bg2"/>
              </a:buClr>
              <a:tabLst>
                <a:tab pos="1082675" algn="l"/>
                <a:tab pos="2149475" algn="l"/>
                <a:tab pos="8077200" algn="r"/>
              </a:tabLst>
              <a:defRPr/>
            </a:lvl3pPr>
            <a:lvl4pPr marL="1616075" indent="-179388">
              <a:buClr>
                <a:schemeClr val="bg2"/>
              </a:buClr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 bwMode="gray">
          <a:xfrm>
            <a:off x="484981" y="3429000"/>
            <a:ext cx="2951163" cy="230505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buFontTx/>
              <a:buNone/>
              <a:defRPr sz="4000" b="0">
                <a:solidFill>
                  <a:schemeClr val="bg1"/>
                </a:solidFill>
              </a:defRPr>
            </a:lvl1pPr>
            <a:lvl2pPr marL="3175" indent="0" algn="ctr">
              <a:buFontTx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035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13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4982" y="352423"/>
            <a:ext cx="6026149" cy="846000"/>
          </a:xfrm>
          <a:ln>
            <a:noFill/>
          </a:ln>
        </p:spPr>
        <p:txBody>
          <a:bodyPr tIns="126000" bIns="90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1"/>
          </p:nvPr>
        </p:nvSpPr>
        <p:spPr>
          <a:xfrm>
            <a:off x="6581643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9" name="Espace réservé pour une image  7"/>
          <p:cNvSpPr>
            <a:spLocks noGrp="1"/>
          </p:cNvSpPr>
          <p:nvPr>
            <p:ph type="pic" sz="quarter" idx="12"/>
          </p:nvPr>
        </p:nvSpPr>
        <p:spPr>
          <a:xfrm>
            <a:off x="8036587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ZoneTexte 9"/>
          <p:cNvSpPr txBox="1"/>
          <p:nvPr userDrawn="1"/>
        </p:nvSpPr>
        <p:spPr>
          <a:xfrm>
            <a:off x="9982288" y="332656"/>
            <a:ext cx="1208539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endParaRPr lang="fr-FR" sz="1200" b="1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488421" y="1567062"/>
            <a:ext cx="8932598" cy="997843"/>
          </a:xfrm>
        </p:spPr>
        <p:txBody>
          <a:bodyPr/>
          <a:lstStyle>
            <a:lvl2pPr marL="623888" indent="-266700">
              <a:tabLst>
                <a:tab pos="1616075" algn="l"/>
                <a:tab pos="2330450" algn="l"/>
                <a:tab pos="8077200" algn="r"/>
              </a:tabLst>
              <a:defRPr/>
            </a:lvl2pPr>
            <a:lvl3pPr marL="896938" indent="-176213">
              <a:tabLst>
                <a:tab pos="1082675" algn="l"/>
                <a:tab pos="2149475" algn="l"/>
                <a:tab pos="8077200" algn="r"/>
              </a:tabLst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81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images_grey_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4982" y="352423"/>
            <a:ext cx="6026149" cy="846000"/>
          </a:xfrm>
          <a:ln>
            <a:noFill/>
          </a:ln>
        </p:spPr>
        <p:txBody>
          <a:bodyPr tIns="126000" bIns="90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488421" y="1268759"/>
            <a:ext cx="8932598" cy="489121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1"/>
          </p:nvPr>
        </p:nvSpPr>
        <p:spPr>
          <a:xfrm>
            <a:off x="6581643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9" name="Espace réservé pour une image  7"/>
          <p:cNvSpPr>
            <a:spLocks noGrp="1"/>
          </p:cNvSpPr>
          <p:nvPr>
            <p:ph type="pic" sz="quarter" idx="12"/>
          </p:nvPr>
        </p:nvSpPr>
        <p:spPr>
          <a:xfrm>
            <a:off x="8036587" y="352423"/>
            <a:ext cx="1372800" cy="844550"/>
          </a:xfrm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ZoneTexte 9"/>
          <p:cNvSpPr txBox="1"/>
          <p:nvPr userDrawn="1"/>
        </p:nvSpPr>
        <p:spPr>
          <a:xfrm>
            <a:off x="9982288" y="332656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200" b="1" dirty="0">
                <a:solidFill>
                  <a:srgbClr val="000000"/>
                </a:solidFill>
              </a:rPr>
              <a:t>TO</a:t>
            </a:r>
          </a:p>
          <a:p>
            <a:r>
              <a:rPr lang="fr-FR" sz="1200" b="1" dirty="0">
                <a:solidFill>
                  <a:srgbClr val="000000"/>
                </a:solidFill>
              </a:rPr>
              <a:t>REPLACE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br>
              <a:rPr lang="fr-FR" sz="1200" dirty="0">
                <a:solidFill>
                  <a:srgbClr val="000000"/>
                </a:solidFill>
              </a:rPr>
            </a:br>
            <a:r>
              <a:rPr lang="fr-FR" sz="1200" dirty="0">
                <a:solidFill>
                  <a:srgbClr val="000000"/>
                </a:solidFill>
              </a:rPr>
              <a:t>AN IMAGE: </a:t>
            </a:r>
            <a:r>
              <a:rPr lang="fr-FR" sz="1200" b="1" dirty="0">
                <a:solidFill>
                  <a:srgbClr val="000000"/>
                </a:solidFill>
              </a:rPr>
              <a:t>Click on the image and </a:t>
            </a:r>
            <a:r>
              <a:rPr lang="fr-FR" sz="1200" b="1" dirty="0" err="1">
                <a:solidFill>
                  <a:srgbClr val="000000"/>
                </a:solidFill>
              </a:rPr>
              <a:t>delete</a:t>
            </a:r>
            <a:r>
              <a:rPr lang="fr-FR" sz="1200" b="1" dirty="0">
                <a:solidFill>
                  <a:srgbClr val="000000"/>
                </a:solidFill>
              </a:rPr>
              <a:t> </a:t>
            </a:r>
          </a:p>
          <a:p>
            <a:endParaRPr lang="fr-FR" sz="1200" b="1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then</a:t>
            </a:r>
            <a:r>
              <a:rPr lang="fr-FR" sz="1200" dirty="0">
                <a:solidFill>
                  <a:srgbClr val="000000"/>
                </a:solidFill>
              </a:rPr>
              <a:t> click on the photo </a:t>
            </a:r>
            <a:r>
              <a:rPr lang="fr-FR" sz="1200" dirty="0" err="1">
                <a:solidFill>
                  <a:srgbClr val="000000"/>
                </a:solidFill>
              </a:rPr>
              <a:t>icon</a:t>
            </a:r>
            <a:r>
              <a:rPr lang="fr-FR" sz="1200" dirty="0">
                <a:solidFill>
                  <a:srgbClr val="000000"/>
                </a:solidFill>
              </a:rPr>
              <a:t>.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>
                <a:solidFill>
                  <a:srgbClr val="000000"/>
                </a:solidFill>
              </a:rPr>
              <a:t>Select your photo and insert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r>
              <a:rPr lang="fr-FR" sz="1200" dirty="0" err="1">
                <a:solidFill>
                  <a:srgbClr val="000000"/>
                </a:solidFill>
              </a:rPr>
              <a:t>Resize</a:t>
            </a:r>
            <a:r>
              <a:rPr lang="fr-FR" sz="1200" dirty="0">
                <a:solidFill>
                  <a:srgbClr val="000000"/>
                </a:solidFill>
              </a:rPr>
              <a:t> photo if </a:t>
            </a:r>
            <a:r>
              <a:rPr lang="fr-FR" sz="1200" dirty="0" err="1">
                <a:solidFill>
                  <a:srgbClr val="000000"/>
                </a:solidFill>
              </a:rPr>
              <a:t>needed</a:t>
            </a:r>
            <a:r>
              <a:rPr lang="fr-FR" sz="1200" dirty="0">
                <a:solidFill>
                  <a:srgbClr val="000000"/>
                </a:solidFill>
              </a:rPr>
              <a:t> by </a:t>
            </a:r>
            <a:r>
              <a:rPr lang="fr-FR" sz="1200" dirty="0" err="1">
                <a:solidFill>
                  <a:srgbClr val="000000"/>
                </a:solidFill>
              </a:rPr>
              <a:t>cropping</a:t>
            </a:r>
            <a:r>
              <a:rPr lang="fr-FR" sz="1200" dirty="0">
                <a:solidFill>
                  <a:srgbClr val="000000"/>
                </a:solidFill>
              </a:rPr>
              <a:t> and </a:t>
            </a:r>
            <a:r>
              <a:rPr lang="fr-FR" sz="1200" dirty="0" err="1">
                <a:solidFill>
                  <a:srgbClr val="000000"/>
                </a:solidFill>
              </a:rPr>
              <a:t>sliding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  <a:r>
              <a:rPr lang="fr-FR" sz="1200" dirty="0" err="1">
                <a:solidFill>
                  <a:srgbClr val="000000"/>
                </a:solidFill>
              </a:rPr>
              <a:t>it</a:t>
            </a:r>
            <a:r>
              <a:rPr lang="fr-FR" sz="1200" dirty="0">
                <a:solidFill>
                  <a:srgbClr val="000000"/>
                </a:solidFill>
              </a:rPr>
              <a:t> </a:t>
            </a:r>
          </a:p>
          <a:p>
            <a:endParaRPr lang="fr-FR" sz="1200" dirty="0">
              <a:solidFill>
                <a:srgbClr val="000000"/>
              </a:solidFill>
            </a:endParaRPr>
          </a:p>
          <a:p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50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9"/>
          <p:cNvSpPr>
            <a:spLocks noGrp="1" noChangeArrowheads="1"/>
          </p:cNvSpPr>
          <p:nvPr>
            <p:ph type="ctrTitle"/>
          </p:nvPr>
        </p:nvSpPr>
        <p:spPr>
          <a:xfrm>
            <a:off x="337079" y="2540000"/>
            <a:ext cx="8420100" cy="77210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/>
          <a:lstStyle>
            <a:lvl1pPr>
              <a:defRPr sz="4000" b="1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fr-FR" noProof="0"/>
          </a:p>
        </p:txBody>
      </p:sp>
      <p:sp>
        <p:nvSpPr>
          <p:cNvPr id="70659" name="Rectangle 10"/>
          <p:cNvSpPr>
            <a:spLocks noGrp="1" noChangeArrowheads="1"/>
          </p:cNvSpPr>
          <p:nvPr>
            <p:ph type="subTitle" idx="1"/>
          </p:nvPr>
        </p:nvSpPr>
        <p:spPr>
          <a:xfrm>
            <a:off x="467783" y="3763963"/>
            <a:ext cx="6934200" cy="1752600"/>
          </a:xfrm>
        </p:spPr>
        <p:txBody>
          <a:bodyPr/>
          <a:lstStyle>
            <a:lvl1pPr>
              <a:defRPr sz="2000" b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10722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09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04438E-7504-4B07-8270-51BCB5B6FCC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2" name="Espace réservé du texte 31"/>
          <p:cNvSpPr>
            <a:spLocks noGrp="1"/>
          </p:cNvSpPr>
          <p:nvPr>
            <p:ph type="body" sz="quarter" idx="11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03644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lide_blue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>
          <a:xfrm>
            <a:off x="459140" y="2613431"/>
            <a:ext cx="8970000" cy="55399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>
          <a:xfrm>
            <a:off x="484981" y="3719651"/>
            <a:ext cx="8936038" cy="360363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fr-FR" sz="1600" b="0" kern="1200" smtClean="0">
                <a:solidFill>
                  <a:schemeClr val="bg1"/>
                </a:solidFill>
                <a:latin typeface="Arial" charset="0"/>
              </a:defRPr>
            </a:lvl1pPr>
            <a:lvl2pPr marL="190500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38187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92212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r>
              <a:rPr lang="en-US" altLang="fr-FR" noProof="0" dirty="0"/>
              <a:t>Month XX, 2012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7359" y="1115221"/>
            <a:ext cx="2142780" cy="84797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657" y="6029325"/>
            <a:ext cx="627900" cy="46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03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head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484979" y="954156"/>
            <a:ext cx="3074989" cy="5202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627040" y="954155"/>
            <a:ext cx="5793978" cy="5202000"/>
          </a:xfrm>
          <a:solidFill>
            <a:schemeClr val="bg2"/>
          </a:solidFill>
        </p:spPr>
        <p:txBody>
          <a:bodyPr lIns="72000" anchor="ctr" anchorCtr="0"/>
          <a:lstStyle>
            <a:lvl1pPr marL="0" indent="0"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defRPr/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1"/>
          </a:solidFill>
          <a:ln>
            <a:noFill/>
          </a:ln>
          <a:effectLst/>
        </p:spPr>
        <p:txBody>
          <a:bodyPr vert="horz" wrap="square" lIns="108000" tIns="126000" rIns="72000" bIns="90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CHAPTER NUMBER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-1287694" y="1872114"/>
            <a:ext cx="1208539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/>
            <a:r>
              <a:rPr lang="fr-FR" sz="1200" b="1" i="0" baseline="0" dirty="0">
                <a:solidFill>
                  <a:schemeClr val="tx1"/>
                </a:solidFill>
              </a:rPr>
              <a:t>TO</a:t>
            </a:r>
          </a:p>
          <a:p>
            <a:pPr lvl="0" algn="r"/>
            <a:r>
              <a:rPr lang="fr-FR" sz="1200" b="1" dirty="0">
                <a:solidFill>
                  <a:schemeClr val="tx1"/>
                </a:solidFill>
              </a:rPr>
              <a:t>REPLACE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br>
              <a:rPr lang="fr-FR" sz="1200" dirty="0">
                <a:solidFill>
                  <a:schemeClr val="tx1"/>
                </a:solidFill>
              </a:rPr>
            </a:br>
            <a:r>
              <a:rPr lang="fr-FR" sz="1200" dirty="0">
                <a:solidFill>
                  <a:schemeClr val="tx1"/>
                </a:solidFill>
              </a:rPr>
              <a:t>AN IMAGE: </a:t>
            </a:r>
            <a:r>
              <a:rPr lang="fr-FR" sz="1200" b="1" dirty="0">
                <a:solidFill>
                  <a:schemeClr val="tx1"/>
                </a:solidFill>
              </a:rPr>
              <a:t>Click on</a:t>
            </a:r>
            <a:r>
              <a:rPr lang="fr-FR" sz="1200" b="1" baseline="0" dirty="0">
                <a:solidFill>
                  <a:schemeClr val="tx1"/>
                </a:solidFill>
              </a:rPr>
              <a:t> the image and </a:t>
            </a:r>
            <a:r>
              <a:rPr lang="fr-FR" sz="1200" b="1" baseline="0" dirty="0" err="1">
                <a:solidFill>
                  <a:schemeClr val="tx1"/>
                </a:solidFill>
              </a:rPr>
              <a:t>delete</a:t>
            </a:r>
            <a:r>
              <a:rPr lang="fr-FR" sz="1200" b="1" baseline="0" dirty="0">
                <a:solidFill>
                  <a:schemeClr val="tx1"/>
                </a:solidFill>
              </a:rPr>
              <a:t> </a:t>
            </a:r>
          </a:p>
          <a:p>
            <a:pPr lvl="0" algn="r"/>
            <a:endParaRPr lang="fr-FR" sz="1200" b="1" baseline="0" dirty="0">
              <a:solidFill>
                <a:schemeClr val="tx1"/>
              </a:solidFill>
            </a:endParaRPr>
          </a:p>
          <a:p>
            <a:pPr lvl="0" algn="r"/>
            <a:r>
              <a:rPr lang="fr-FR" sz="1200" dirty="0" err="1">
                <a:solidFill>
                  <a:schemeClr val="tx1"/>
                </a:solidFill>
              </a:rPr>
              <a:t>then</a:t>
            </a:r>
            <a:r>
              <a:rPr lang="fr-FR" sz="1200" dirty="0">
                <a:solidFill>
                  <a:schemeClr val="tx1"/>
                </a:solidFill>
              </a:rPr>
              <a:t> click on the photo </a:t>
            </a:r>
            <a:r>
              <a:rPr lang="fr-FR" sz="1200" dirty="0" err="1">
                <a:solidFill>
                  <a:schemeClr val="tx1"/>
                </a:solidFill>
              </a:rPr>
              <a:t>icon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  <a:p>
            <a:pPr lvl="0" algn="r"/>
            <a:endParaRPr lang="fr-FR" sz="1200" dirty="0">
              <a:solidFill>
                <a:schemeClr val="tx1"/>
              </a:solidFill>
            </a:endParaRPr>
          </a:p>
          <a:p>
            <a:pPr lvl="0" algn="r"/>
            <a:r>
              <a:rPr lang="fr-FR" sz="1200" dirty="0">
                <a:solidFill>
                  <a:schemeClr val="tx1"/>
                </a:solidFill>
              </a:rPr>
              <a:t>Select your photo and</a:t>
            </a:r>
            <a:r>
              <a:rPr lang="fr-FR" sz="1200" baseline="0" dirty="0">
                <a:solidFill>
                  <a:schemeClr val="tx1"/>
                </a:solidFill>
              </a:rPr>
              <a:t> insert</a:t>
            </a:r>
          </a:p>
          <a:p>
            <a:pPr lvl="0" algn="r"/>
            <a:endParaRPr lang="fr-FR" sz="1200" baseline="0" dirty="0">
              <a:solidFill>
                <a:schemeClr val="tx1"/>
              </a:solidFill>
            </a:endParaRPr>
          </a:p>
          <a:p>
            <a:pPr lvl="0" algn="r"/>
            <a:r>
              <a:rPr lang="fr-FR" sz="1200" baseline="0" dirty="0" err="1">
                <a:solidFill>
                  <a:schemeClr val="tx1"/>
                </a:solidFill>
              </a:rPr>
              <a:t>Resize</a:t>
            </a:r>
            <a:r>
              <a:rPr lang="fr-FR" sz="1200" baseline="0" dirty="0">
                <a:solidFill>
                  <a:schemeClr val="tx1"/>
                </a:solidFill>
              </a:rPr>
              <a:t> photo if </a:t>
            </a:r>
            <a:r>
              <a:rPr lang="fr-FR" sz="1200" baseline="0" dirty="0" err="1">
                <a:solidFill>
                  <a:schemeClr val="tx1"/>
                </a:solidFill>
              </a:rPr>
              <a:t>needed</a:t>
            </a:r>
            <a:r>
              <a:rPr lang="fr-FR" sz="1200" baseline="0" dirty="0">
                <a:solidFill>
                  <a:schemeClr val="tx1"/>
                </a:solidFill>
              </a:rPr>
              <a:t> by </a:t>
            </a:r>
            <a:r>
              <a:rPr lang="fr-FR" sz="1200" baseline="0" dirty="0" err="1">
                <a:solidFill>
                  <a:schemeClr val="tx1"/>
                </a:solidFill>
              </a:rPr>
              <a:t>cropping</a:t>
            </a:r>
            <a:r>
              <a:rPr lang="fr-FR" sz="1200" baseline="0" dirty="0">
                <a:solidFill>
                  <a:schemeClr val="tx1"/>
                </a:solidFill>
              </a:rPr>
              <a:t> and </a:t>
            </a:r>
            <a:r>
              <a:rPr lang="fr-FR" sz="1200" baseline="0" dirty="0" err="1">
                <a:solidFill>
                  <a:schemeClr val="tx1"/>
                </a:solidFill>
              </a:rPr>
              <a:t>sliding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r>
              <a:rPr lang="fr-FR" sz="1200" baseline="0" dirty="0" err="1">
                <a:solidFill>
                  <a:schemeClr val="tx1"/>
                </a:solidFill>
              </a:rPr>
              <a:t>it</a:t>
            </a:r>
            <a:r>
              <a:rPr lang="fr-FR" sz="1200" baseline="0" dirty="0">
                <a:solidFill>
                  <a:schemeClr val="tx1"/>
                </a:solidFill>
              </a:rPr>
              <a:t> </a:t>
            </a:r>
            <a:endParaRPr lang="fr-FR" sz="1200" dirty="0">
              <a:solidFill>
                <a:schemeClr val="tx1"/>
              </a:solidFill>
            </a:endParaRPr>
          </a:p>
          <a:p>
            <a:pPr algn="r"/>
            <a:endParaRPr lang="fr-FR" sz="1200" dirty="0">
              <a:solidFill>
                <a:schemeClr val="tx1"/>
              </a:solidFill>
            </a:endParaRPr>
          </a:p>
          <a:p>
            <a:pPr algn="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36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471565" y="6387880"/>
            <a:ext cx="780000" cy="19195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1B11CED-4E3B-3F46-8FC4-5A849D1EB6B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953218" y="6387880"/>
            <a:ext cx="6433410" cy="19195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814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738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800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176350"/>
            <a:ext cx="8915400" cy="4995852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spcBef>
                <a:spcPts val="600"/>
              </a:spcBef>
              <a:buFont typeface="Arial" pitchFamily="34" charset="0"/>
              <a:buChar char="•"/>
              <a:defRPr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lnSpc>
                <a:spcPct val="114000"/>
              </a:lnSpc>
              <a:spcBef>
                <a:spcPts val="6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lnSpc>
                <a:spcPct val="114000"/>
              </a:lnSpc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lnSpc>
                <a:spcPct val="114000"/>
              </a:lnSpc>
              <a:spcBef>
                <a:spcPts val="6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14000"/>
              </a:lnSpc>
              <a:spcBef>
                <a:spcPts val="600"/>
              </a:spcBef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471565" y="6387880"/>
            <a:ext cx="780000" cy="1919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fr-FR" sz="900" b="0" smtClean="0">
                <a:solidFill>
                  <a:schemeClr val="tx1"/>
                </a:solidFill>
              </a:defRPr>
            </a:lvl1pPr>
          </a:lstStyle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sp>
        <p:nvSpPr>
          <p:cNvPr id="8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756628" y="6387880"/>
            <a:ext cx="6630000" cy="18385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fr-FR" sz="900" b="0"/>
            </a:lvl1pPr>
          </a:lstStyle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0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84981" y="352425"/>
            <a:ext cx="8936038" cy="550508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0526" y="1572694"/>
            <a:ext cx="9009000" cy="4586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92953658-8717-4551-ABC2-2BFB7F854FD4}" type="datetime1">
              <a:rPr lang="en-US" smtClean="0">
                <a:solidFill>
                  <a:srgbClr val="000000"/>
                </a:solidFill>
                <a:latin typeface="Arial"/>
              </a:rPr>
              <a:pPr/>
              <a:t>9/19/2018</a:t>
            </a:fld>
            <a:endParaRPr lang="fr-FR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530EB-3CA6-43AA-9CB4-ADBED31AF8A9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04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6892925" cy="9445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95300" y="1371600"/>
            <a:ext cx="4375150" cy="4430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371600"/>
            <a:ext cx="4375150" cy="4430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71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lide_blue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>
          <a:xfrm>
            <a:off x="459140" y="2613431"/>
            <a:ext cx="8970000" cy="55399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>
          <a:xfrm>
            <a:off x="484981" y="3719651"/>
            <a:ext cx="8936038" cy="360363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fr-FR" sz="1600" b="0" kern="1200" smtClean="0">
                <a:solidFill>
                  <a:schemeClr val="bg1"/>
                </a:solidFill>
                <a:latin typeface="Arial" charset="0"/>
              </a:defRPr>
            </a:lvl1pPr>
            <a:lvl2pPr marL="190500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38187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92212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r>
              <a:rPr lang="en-US" altLang="fr-FR" noProof="0" dirty="0"/>
              <a:t>Month XX, 2012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7359" y="1115221"/>
            <a:ext cx="2142780" cy="84797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657" y="6029325"/>
            <a:ext cx="627900" cy="46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43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471565" y="6387880"/>
            <a:ext cx="780000" cy="19195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1B11CED-4E3B-3F46-8FC4-5A849D1EB6B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953218" y="6387880"/>
            <a:ext cx="6433410" cy="19195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958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205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252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_head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5"/>
            <a:ext cx="5716586" cy="5803730"/>
          </a:xfrm>
          <a:solidFill>
            <a:schemeClr val="bg2"/>
          </a:solidFill>
        </p:spPr>
        <p:txBody>
          <a:bodyPr lIns="72000" anchor="ctr" anchorCtr="0"/>
          <a:lstStyle>
            <a:lvl1pPr marL="0" indent="0" algn="l" rtl="0" eaLnBrk="1" fontAlgn="base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  <a:defRPr lang="fr-FR" sz="4000" b="1" dirty="0" smtClean="0">
                <a:solidFill>
                  <a:srgbClr val="2A295C"/>
                </a:solidFill>
                <a:latin typeface="+mn-lt"/>
                <a:ea typeface="+mn-ea"/>
                <a:cs typeface="+mn-cs"/>
              </a:defRPr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4"/>
          </p:nvPr>
        </p:nvSpPr>
        <p:spPr bwMode="ltGray">
          <a:xfrm>
            <a:off x="479822" y="352425"/>
            <a:ext cx="3147031" cy="5803730"/>
          </a:xfrm>
          <a:solidFill>
            <a:schemeClr val="accent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defRPr kumimoji="0" lang="fr-FR" sz="19200" b="0" i="0" u="none" strike="noStrike" kern="1200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defRPr>
            </a:lvl1pPr>
            <a:lvl2pPr>
              <a:defRPr lang="fr-F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</a:lstStyle>
          <a:p>
            <a:pPr marL="0" marR="0" lvl="0" indent="0" algn="ctr" defTabSz="91440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/>
              <a:t>Modifiez les styles du texte du masqu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84981" y="352425"/>
            <a:ext cx="8936038" cy="550508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0526" y="1572694"/>
            <a:ext cx="9009000" cy="4586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92953658-8717-4551-ABC2-2BFB7F854FD4}" type="datetime1">
              <a:rPr lang="en-US" smtClean="0">
                <a:solidFill>
                  <a:srgbClr val="000000"/>
                </a:solidFill>
                <a:latin typeface="Arial"/>
              </a:rPr>
              <a:pPr/>
              <a:t>9/19/2018</a:t>
            </a:fld>
            <a:endParaRPr lang="fr-FR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530EB-3CA6-43AA-9CB4-ADBED31AF8A9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62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6892925" cy="9445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95300" y="1371600"/>
            <a:ext cx="4375150" cy="4430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371600"/>
            <a:ext cx="4375150" cy="4430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992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_head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buFont typeface="Arial" pitchFamily="34" charset="0"/>
                <a:buNone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 bwMode="ltGray">
          <a:xfrm>
            <a:off x="3704432" y="352425"/>
            <a:ext cx="5716586" cy="5803730"/>
          </a:xfrm>
          <a:solidFill>
            <a:schemeClr val="bg2"/>
          </a:solidFill>
        </p:spPr>
        <p:txBody>
          <a:bodyPr lIns="72000" anchor="ctr" anchorCtr="0"/>
          <a:lstStyle>
            <a:lvl1pPr marL="0" indent="0" algn="l" rtl="0" eaLnBrk="1" fontAlgn="base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+mj-lt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  <a:defRPr lang="fr-FR" sz="4000" b="1" dirty="0" smtClean="0">
                <a:solidFill>
                  <a:srgbClr val="2A295C"/>
                </a:solidFill>
                <a:latin typeface="+mn-lt"/>
                <a:ea typeface="+mn-ea"/>
                <a:cs typeface="+mn-cs"/>
              </a:defRPr>
            </a:lvl1pPr>
            <a:lvl2pPr marL="1176338" indent="-457200">
              <a:buClr>
                <a:schemeClr val="tx2"/>
              </a:buClr>
              <a:buSzPct val="100000"/>
              <a:buFont typeface="+mj-lt"/>
              <a:buAutoNum type="alphaLcPeriod"/>
              <a:defRPr b="0"/>
            </a:lvl2pPr>
            <a:lvl3pPr marL="1787525" indent="-342900">
              <a:buClr>
                <a:schemeClr val="tx1"/>
              </a:buClr>
              <a:buFont typeface="+mj-lt"/>
              <a:buAutoNum type="arabicPeriod"/>
              <a:defRPr/>
            </a:lvl3pPr>
            <a:lvl4pPr marL="2493962" indent="-342900">
              <a:buClr>
                <a:schemeClr val="tx1"/>
              </a:buClr>
              <a:buFont typeface="+mj-lt"/>
              <a:buAutoNum type="arabicPeriod"/>
              <a:defRPr/>
            </a:lvl4pPr>
            <a:lvl5pPr marL="2763838" indent="-342900">
              <a:buClr>
                <a:schemeClr val="tx1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4"/>
          </p:nvPr>
        </p:nvSpPr>
        <p:spPr bwMode="ltGray">
          <a:xfrm>
            <a:off x="479822" y="352425"/>
            <a:ext cx="3147031" cy="5803730"/>
          </a:xfrm>
          <a:solidFill>
            <a:schemeClr val="tx2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defRPr kumimoji="0" lang="fr-FR" sz="19200" b="0" i="0" u="none" strike="noStrike" kern="1200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defRPr>
            </a:lvl1pPr>
            <a:lvl2pPr>
              <a:defRPr lang="fr-F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</a:lstStyle>
          <a:p>
            <a:pPr marL="0" marR="0" lvl="0" indent="0" algn="ctr" defTabSz="91440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/>
              <a:t>Modifiez les styles du texte du masqu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144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4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2.wmf"/><Relationship Id="rId10" Type="http://schemas.openxmlformats.org/officeDocument/2006/relationships/slideLayout" Target="../slideLayouts/slideLayout41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image" Target="../media/image2.wmf"/><Relationship Id="rId3" Type="http://schemas.openxmlformats.org/officeDocument/2006/relationships/slideLayout" Target="../slideLayouts/slideLayout51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vmlDrawing" Target="../drawings/vmlDrawing3.vml"/><Relationship Id="rId27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8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779354577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4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Rectangle 9"/>
          <p:cNvSpPr>
            <a:spLocks noGrp="1" noChangeArrowheads="1"/>
          </p:cNvSpPr>
          <p:nvPr>
            <p:ph type="title"/>
          </p:nvPr>
        </p:nvSpPr>
        <p:spPr bwMode="gray">
          <a:xfrm>
            <a:off x="484981" y="352425"/>
            <a:ext cx="8936038" cy="5505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108000" tIns="108000" rIns="72000" bIns="108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dirty="0"/>
              <a:t>Cliquez et modifiez le titr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0526" y="1572694"/>
            <a:ext cx="9009000" cy="4586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  <a:p>
            <a:pPr lvl="3"/>
            <a:r>
              <a:rPr lang="fr-FR" altLang="fr-FR" dirty="0"/>
              <a:t>Quatrième niveau</a:t>
            </a:r>
          </a:p>
        </p:txBody>
      </p:sp>
      <p:cxnSp>
        <p:nvCxnSpPr>
          <p:cNvPr id="4" name="Connecteur droit 3"/>
          <p:cNvCxnSpPr/>
          <p:nvPr/>
        </p:nvCxnSpPr>
        <p:spPr bwMode="auto">
          <a:xfrm flipH="1">
            <a:off x="484982" y="6227787"/>
            <a:ext cx="8936039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" name="Image 6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3570" y="6194460"/>
            <a:ext cx="1309807" cy="518337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471565" y="6387880"/>
            <a:ext cx="780000" cy="1919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fr-FR" sz="900" b="0" smtClean="0">
                <a:solidFill>
                  <a:schemeClr val="tx1"/>
                </a:solidFill>
              </a:defRPr>
            </a:lvl1pPr>
          </a:lstStyle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 smtClean="0"/>
              <a:pPr eaLnBrk="0" hangingPunct="0">
                <a:lnSpc>
                  <a:spcPct val="90000"/>
                </a:lnSpc>
                <a:buClr>
                  <a:schemeClr val="accent3"/>
                </a:buClr>
                <a:buSzPct val="120000"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/>
              <a:t> – 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 flipH="1">
            <a:off x="484982" y="6227787"/>
            <a:ext cx="8936039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" name="Image 8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3570" y="6194460"/>
            <a:ext cx="1309807" cy="518337"/>
          </a:xfrm>
          <a:prstGeom prst="rect">
            <a:avLst/>
          </a:prstGeo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756628" y="6387880"/>
            <a:ext cx="6630000" cy="18385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fr-FR" sz="900" b="0"/>
            </a:lvl1pPr>
          </a:lstStyle>
          <a:p>
            <a:pPr eaLnBrk="0" hangingPunct="0">
              <a:lnSpc>
                <a:spcPct val="90000"/>
              </a:lnSpc>
              <a:buClr>
                <a:schemeClr val="accent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8" r:id="rId3"/>
    <p:sldLayoutId id="2147483680" r:id="rId4"/>
    <p:sldLayoutId id="2147483693" r:id="rId5"/>
    <p:sldLayoutId id="2147483688" r:id="rId6"/>
    <p:sldLayoutId id="2147483679" r:id="rId7"/>
    <p:sldLayoutId id="2147483691" r:id="rId8"/>
    <p:sldLayoutId id="2147483692" r:id="rId9"/>
    <p:sldLayoutId id="2147483675" r:id="rId10"/>
    <p:sldLayoutId id="2147483690" r:id="rId11"/>
    <p:sldLayoutId id="2147483681" r:id="rId12"/>
    <p:sldLayoutId id="2147483683" r:id="rId13"/>
    <p:sldLayoutId id="2147483685" r:id="rId14"/>
    <p:sldLayoutId id="2147483684" r:id="rId15"/>
    <p:sldLayoutId id="2147483686" r:id="rId16"/>
    <p:sldLayoutId id="2147483687" r:id="rId17"/>
    <p:sldLayoutId id="2147483752" r:id="rId18"/>
    <p:sldLayoutId id="2147483762" r:id="rId19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Arial" pitchFamily="34" charset="0"/>
        <a:buNone/>
        <a:tabLst>
          <a:tab pos="1082675" algn="l"/>
          <a:tab pos="1616075" algn="l"/>
          <a:tab pos="2149475" algn="l"/>
          <a:tab pos="8077200" algn="r"/>
        </a:tabLst>
        <a:defRPr sz="2200" b="1">
          <a:solidFill>
            <a:schemeClr val="tx2"/>
          </a:solidFill>
          <a:latin typeface="+mn-lt"/>
          <a:ea typeface="+mn-ea"/>
          <a:cs typeface="+mn-cs"/>
        </a:defRPr>
      </a:lvl1pPr>
      <a:lvl2pPr marL="628650" indent="-266700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Arial" pitchFamily="34" charset="0"/>
        <a:buChar char="■"/>
        <a:tabLst>
          <a:tab pos="1616075" algn="l"/>
          <a:tab pos="2330450" algn="l"/>
          <a:tab pos="8077200" algn="r"/>
        </a:tabLst>
        <a:defRPr sz="1800" b="0">
          <a:solidFill>
            <a:schemeClr val="tx2"/>
          </a:solidFill>
          <a:latin typeface="+mn-lt"/>
        </a:defRPr>
      </a:lvl2pPr>
      <a:lvl3pPr marL="1258888" indent="-176213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bg2"/>
        </a:buClr>
        <a:buSzPct val="120000"/>
        <a:buFontTx/>
        <a:buBlip>
          <a:blip r:embed="rId26"/>
        </a:buBlip>
        <a:tabLst>
          <a:tab pos="1082675" algn="l"/>
          <a:tab pos="2149475" algn="l"/>
          <a:tab pos="8077200" algn="r"/>
        </a:tabLst>
        <a:defRPr sz="1400">
          <a:solidFill>
            <a:schemeClr val="tx1"/>
          </a:solidFill>
          <a:latin typeface="+mn-lt"/>
        </a:defRPr>
      </a:lvl3pPr>
      <a:lvl4pPr marL="1787525" indent="-179388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bg2"/>
        </a:buClr>
        <a:buSzPct val="120000"/>
        <a:buFontTx/>
        <a:buBlip>
          <a:blip r:embed="rId26"/>
        </a:buBlip>
        <a:tabLst>
          <a:tab pos="1082675" algn="l"/>
          <a:tab pos="1616075" algn="l"/>
          <a:tab pos="2149475" algn="l"/>
          <a:tab pos="8077200" algn="r"/>
        </a:tabLst>
        <a:defRPr sz="1400">
          <a:solidFill>
            <a:schemeClr val="tx1"/>
          </a:solidFill>
          <a:latin typeface="+mn-lt"/>
        </a:defRPr>
      </a:lvl4pPr>
      <a:lvl5pPr marL="24209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5pPr>
      <a:lvl6pPr marL="28781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6pPr>
      <a:lvl7pPr marL="33353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7pPr>
      <a:lvl8pPr marL="37925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8pPr>
      <a:lvl9pPr marL="42497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7994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6" name="Freeform 28"/>
          <p:cNvSpPr>
            <a:spLocks/>
          </p:cNvSpPr>
          <p:nvPr/>
        </p:nvSpPr>
        <p:spPr bwMode="gray">
          <a:xfrm>
            <a:off x="280327" y="1"/>
            <a:ext cx="854736" cy="6856413"/>
          </a:xfrm>
          <a:custGeom>
            <a:avLst/>
            <a:gdLst>
              <a:gd name="T0" fmla="*/ 152 w 497"/>
              <a:gd name="T1" fmla="*/ 0 h 4319"/>
              <a:gd name="T2" fmla="*/ 0 w 497"/>
              <a:gd name="T3" fmla="*/ 0 h 4319"/>
              <a:gd name="T4" fmla="*/ 130 w 497"/>
              <a:gd name="T5" fmla="*/ 1622 h 4319"/>
              <a:gd name="T6" fmla="*/ 260 w 497"/>
              <a:gd name="T7" fmla="*/ 3272 h 4319"/>
              <a:gd name="T8" fmla="*/ 346 w 497"/>
              <a:gd name="T9" fmla="*/ 4319 h 4319"/>
              <a:gd name="T10" fmla="*/ 497 w 497"/>
              <a:gd name="T11" fmla="*/ 4319 h 4319"/>
              <a:gd name="T12" fmla="*/ 426 w 497"/>
              <a:gd name="T13" fmla="*/ 3404 h 4319"/>
              <a:gd name="T14" fmla="*/ 284 w 497"/>
              <a:gd name="T15" fmla="*/ 1618 h 4319"/>
              <a:gd name="T16" fmla="*/ 152 w 497"/>
              <a:gd name="T17" fmla="*/ 0 h 4319"/>
              <a:gd name="T18" fmla="*/ 152 w 497"/>
              <a:gd name="T19" fmla="*/ 0 h 43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97"/>
              <a:gd name="T31" fmla="*/ 0 h 4319"/>
              <a:gd name="T32" fmla="*/ 497 w 497"/>
              <a:gd name="T33" fmla="*/ 4319 h 431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97" h="4319">
                <a:moveTo>
                  <a:pt x="152" y="0"/>
                </a:moveTo>
                <a:lnTo>
                  <a:pt x="0" y="0"/>
                </a:lnTo>
                <a:lnTo>
                  <a:pt x="130" y="1622"/>
                </a:lnTo>
                <a:lnTo>
                  <a:pt x="260" y="3272"/>
                </a:lnTo>
                <a:lnTo>
                  <a:pt x="346" y="4319"/>
                </a:lnTo>
                <a:lnTo>
                  <a:pt x="497" y="4319"/>
                </a:lnTo>
                <a:lnTo>
                  <a:pt x="426" y="3404"/>
                </a:lnTo>
                <a:lnTo>
                  <a:pt x="284" y="1618"/>
                </a:lnTo>
                <a:lnTo>
                  <a:pt x="152" y="0"/>
                </a:lnTo>
                <a:close/>
              </a:path>
            </a:pathLst>
          </a:cu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 dirty="0"/>
          </a:p>
        </p:txBody>
      </p:sp>
      <p:sp>
        <p:nvSpPr>
          <p:cNvPr id="12317" name="Freeform 29"/>
          <p:cNvSpPr>
            <a:spLocks/>
          </p:cNvSpPr>
          <p:nvPr/>
        </p:nvSpPr>
        <p:spPr bwMode="gray">
          <a:xfrm>
            <a:off x="601927" y="1"/>
            <a:ext cx="366316" cy="6856413"/>
          </a:xfrm>
          <a:custGeom>
            <a:avLst/>
            <a:gdLst>
              <a:gd name="T0" fmla="*/ 59 w 213"/>
              <a:gd name="T1" fmla="*/ 0 h 4319"/>
              <a:gd name="T2" fmla="*/ 37 w 213"/>
              <a:gd name="T3" fmla="*/ 1622 h 4319"/>
              <a:gd name="T4" fmla="*/ 0 w 213"/>
              <a:gd name="T5" fmla="*/ 4319 h 4319"/>
              <a:gd name="T6" fmla="*/ 153 w 213"/>
              <a:gd name="T7" fmla="*/ 4319 h 4319"/>
              <a:gd name="T8" fmla="*/ 167 w 213"/>
              <a:gd name="T9" fmla="*/ 3272 h 4319"/>
              <a:gd name="T10" fmla="*/ 191 w 213"/>
              <a:gd name="T11" fmla="*/ 1618 h 4319"/>
              <a:gd name="T12" fmla="*/ 213 w 213"/>
              <a:gd name="T13" fmla="*/ 0 h 4319"/>
              <a:gd name="T14" fmla="*/ 59 w 213"/>
              <a:gd name="T15" fmla="*/ 0 h 4319"/>
              <a:gd name="T16" fmla="*/ 59 w 213"/>
              <a:gd name="T17" fmla="*/ 0 h 431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13"/>
              <a:gd name="T28" fmla="*/ 0 h 4319"/>
              <a:gd name="T29" fmla="*/ 213 w 213"/>
              <a:gd name="T30" fmla="*/ 4319 h 431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13" h="4319">
                <a:moveTo>
                  <a:pt x="59" y="0"/>
                </a:moveTo>
                <a:lnTo>
                  <a:pt x="37" y="1622"/>
                </a:lnTo>
                <a:lnTo>
                  <a:pt x="0" y="4319"/>
                </a:lnTo>
                <a:lnTo>
                  <a:pt x="153" y="4319"/>
                </a:lnTo>
                <a:lnTo>
                  <a:pt x="167" y="3272"/>
                </a:lnTo>
                <a:lnTo>
                  <a:pt x="191" y="1618"/>
                </a:lnTo>
                <a:lnTo>
                  <a:pt x="213" y="0"/>
                </a:lnTo>
                <a:lnTo>
                  <a:pt x="59" y="0"/>
                </a:lnTo>
                <a:close/>
              </a:path>
            </a:pathLst>
          </a:custGeom>
          <a:gradFill rotWithShape="1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 dirty="0"/>
          </a:p>
        </p:txBody>
      </p:sp>
      <p:sp>
        <p:nvSpPr>
          <p:cNvPr id="12318" name="Freeform 30"/>
          <p:cNvSpPr>
            <a:spLocks/>
          </p:cNvSpPr>
          <p:nvPr/>
        </p:nvSpPr>
        <p:spPr bwMode="gray">
          <a:xfrm>
            <a:off x="0" y="1"/>
            <a:ext cx="467783" cy="6856413"/>
          </a:xfrm>
          <a:custGeom>
            <a:avLst/>
            <a:gdLst>
              <a:gd name="T0" fmla="*/ 272 w 272"/>
              <a:gd name="T1" fmla="*/ 4319 h 4319"/>
              <a:gd name="T2" fmla="*/ 142 w 272"/>
              <a:gd name="T3" fmla="*/ 0 h 4319"/>
              <a:gd name="T4" fmla="*/ 0 w 272"/>
              <a:gd name="T5" fmla="*/ 0 h 4319"/>
              <a:gd name="T6" fmla="*/ 122 w 272"/>
              <a:gd name="T7" fmla="*/ 4319 h 4319"/>
              <a:gd name="T8" fmla="*/ 272 w 272"/>
              <a:gd name="T9" fmla="*/ 4319 h 43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72"/>
              <a:gd name="T16" fmla="*/ 0 h 4319"/>
              <a:gd name="T17" fmla="*/ 272 w 272"/>
              <a:gd name="T18" fmla="*/ 4319 h 43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72" h="4319">
                <a:moveTo>
                  <a:pt x="272" y="4319"/>
                </a:moveTo>
                <a:lnTo>
                  <a:pt x="142" y="0"/>
                </a:lnTo>
                <a:lnTo>
                  <a:pt x="0" y="0"/>
                </a:lnTo>
                <a:lnTo>
                  <a:pt x="122" y="4319"/>
                </a:lnTo>
                <a:lnTo>
                  <a:pt x="272" y="4319"/>
                </a:lnTo>
                <a:close/>
              </a:path>
            </a:pathLst>
          </a:custGeom>
          <a:gradFill rotWithShape="1">
            <a:gsLst>
              <a:gs pos="0">
                <a:srgbClr val="FFB300">
                  <a:gamma/>
                  <a:shade val="46275"/>
                  <a:invGamma/>
                </a:srgbClr>
              </a:gs>
              <a:gs pos="50000">
                <a:srgbClr val="FFB300"/>
              </a:gs>
              <a:gs pos="100000">
                <a:srgbClr val="FFB300">
                  <a:gamma/>
                  <a:shade val="46275"/>
                  <a:invGamma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 dirty="0"/>
          </a:p>
        </p:txBody>
      </p:sp>
      <p:sp>
        <p:nvSpPr>
          <p:cNvPr id="12320" name="Rectangle 32"/>
          <p:cNvSpPr>
            <a:spLocks noChangeArrowheads="1"/>
          </p:cNvSpPr>
          <p:nvPr/>
        </p:nvSpPr>
        <p:spPr bwMode="white">
          <a:xfrm>
            <a:off x="0" y="1371600"/>
            <a:ext cx="9906000" cy="54864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1pPr>
            <a:lvl2pPr marL="37931725" indent="-37474525"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2pPr>
            <a:lvl3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3pPr>
            <a:lvl4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4pPr>
            <a:lvl5pPr eaLnBrk="0" hangingPunct="0"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82B6A"/>
                </a:solidFill>
                <a:latin typeface="Sodexho" pitchFamily="50" charset="0"/>
                <a:cs typeface="Times New Roman" pitchFamily="18" charset="0"/>
              </a:defRPr>
            </a:lvl9pPr>
          </a:lstStyle>
          <a:p>
            <a:pPr algn="ctr" eaLnBrk="1" hangingPunct="1"/>
            <a:endParaRPr lang="en-US" altLang="en-US" dirty="0"/>
          </a:p>
        </p:txBody>
      </p:sp>
      <p:sp>
        <p:nvSpPr>
          <p:cNvPr id="1031" name="Rectangle 18"/>
          <p:cNvSpPr>
            <a:spLocks noGrp="1" noChangeArrowheads="1"/>
          </p:cNvSpPr>
          <p:nvPr>
            <p:ph type="title"/>
          </p:nvPr>
        </p:nvSpPr>
        <p:spPr bwMode="auto">
          <a:xfrm>
            <a:off x="1073150" y="228601"/>
            <a:ext cx="8337550" cy="944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/>
              <a:t>Name of Presentation (Arial 24 ) </a:t>
            </a:r>
            <a:br>
              <a:rPr lang="en-AU" altLang="en-US"/>
            </a:br>
            <a:r>
              <a:rPr lang="en-AU" altLang="en-US"/>
              <a:t>Contents (Arial 18)</a:t>
            </a:r>
          </a:p>
        </p:txBody>
      </p:sp>
      <p:sp>
        <p:nvSpPr>
          <p:cNvPr id="1033" name="Rectangle 2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77851" y="1600200"/>
            <a:ext cx="8905081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ontents (Arial 26, Bold)—Here is where you will outline the main topics of your presentation.</a:t>
            </a:r>
          </a:p>
          <a:p>
            <a:pPr lvl="1"/>
            <a:r>
              <a:rPr lang="en-US" altLang="en-US"/>
              <a:t>Text (Arial 20, Bold)—List the supporting bullets here</a:t>
            </a:r>
          </a:p>
          <a:p>
            <a:pPr lvl="2"/>
            <a:r>
              <a:rPr lang="en-US" altLang="en-US"/>
              <a:t>Text (Arial 20)—List sub-supporting details here</a:t>
            </a:r>
          </a:p>
          <a:p>
            <a:pPr lvl="0"/>
            <a:endParaRPr lang="en-US" altLang="en-US"/>
          </a:p>
        </p:txBody>
      </p:sp>
      <p:pic>
        <p:nvPicPr>
          <p:cNvPr id="1035" name="Picture 25" descr="sodexo_res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050" y="238126"/>
            <a:ext cx="231140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6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28150" y="6626226"/>
            <a:ext cx="57785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/>
            </a:lvl1pPr>
          </a:lstStyle>
          <a:p>
            <a:fld id="{3798580F-831B-45D8-815C-6BBCD6B42E0D}" type="slidenum">
              <a:rPr lang="en-US" altLang="en-US" smtClean="0">
                <a:solidFill>
                  <a:srgbClr val="082B6A"/>
                </a:solidFill>
                <a:latin typeface="Arial" pitchFamily="34" charset="0"/>
                <a:cs typeface="Times New Roman" pitchFamily="18" charset="0"/>
              </a:rPr>
              <a:pPr/>
              <a:t>‹#›</a:t>
            </a:fld>
            <a:endParaRPr lang="en-US" altLang="en-US" dirty="0">
              <a:solidFill>
                <a:srgbClr val="082B6A"/>
              </a:solidFill>
              <a:latin typeface="Arial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003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pitchFamily="-107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pitchFamily="-107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pitchFamily="-107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pitchFamily="-107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pitchFamily="-107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pitchFamily="-107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pitchFamily="-107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pitchFamily="-107" charset="0"/>
        </a:defRPr>
      </a:lvl9pPr>
    </p:titleStyle>
    <p:bodyStyle>
      <a:lvl1pPr marL="512763" indent="-512763" algn="l" rtl="0" eaLnBrk="0" fontAlgn="base" hangingPunct="0">
        <a:spcBef>
          <a:spcPct val="20000"/>
        </a:spcBef>
        <a:spcAft>
          <a:spcPct val="0"/>
        </a:spcAft>
        <a:buClr>
          <a:srgbClr val="00A0C6"/>
        </a:buClr>
        <a:buSzPct val="130000"/>
        <a:buFont typeface="Wingdings" pitchFamily="2" charset="2"/>
        <a:buChar char="£"/>
        <a:defRPr sz="2600" b="1">
          <a:solidFill>
            <a:srgbClr val="0B3A8B"/>
          </a:solidFill>
          <a:latin typeface="+mn-lt"/>
          <a:ea typeface="MS PGothic" pitchFamily="34" charset="-128"/>
          <a:cs typeface="+mn-cs"/>
        </a:defRPr>
      </a:lvl1pPr>
      <a:lvl2pPr marL="971550" indent="-344488" algn="l" rtl="0" eaLnBrk="0" fontAlgn="base" hangingPunct="0">
        <a:spcBef>
          <a:spcPct val="20000"/>
        </a:spcBef>
        <a:spcAft>
          <a:spcPct val="0"/>
        </a:spcAft>
        <a:buSzPct val="130000"/>
        <a:buFont typeface="Arial" pitchFamily="34" charset="0"/>
        <a:buChar char="●"/>
        <a:defRPr sz="2000" b="1">
          <a:solidFill>
            <a:srgbClr val="0B3A8B"/>
          </a:solidFill>
          <a:latin typeface="+mn-lt"/>
          <a:ea typeface="MS PGothic" pitchFamily="34" charset="-128"/>
        </a:defRPr>
      </a:lvl2pPr>
      <a:lvl3pPr marL="137160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-"/>
        <a:defRPr sz="2000">
          <a:solidFill>
            <a:srgbClr val="0B3A8B"/>
          </a:solidFill>
          <a:latin typeface="+mn-lt"/>
          <a:ea typeface="MS PGothic" pitchFamily="34" charset="-128"/>
        </a:defRPr>
      </a:lvl3pPr>
      <a:lvl4pPr marL="17145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7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7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7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14091932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63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Rectangle 9"/>
          <p:cNvSpPr>
            <a:spLocks noGrp="1" noChangeArrowheads="1"/>
          </p:cNvSpPr>
          <p:nvPr>
            <p:ph type="title"/>
          </p:nvPr>
        </p:nvSpPr>
        <p:spPr bwMode="gray">
          <a:xfrm>
            <a:off x="484981" y="352425"/>
            <a:ext cx="8936038" cy="5505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108000" tIns="108000" rIns="72000" bIns="108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dirty="0"/>
              <a:t>Cliquez et modifiez le titr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0526" y="1572694"/>
            <a:ext cx="9009000" cy="4586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  <a:p>
            <a:pPr lvl="3"/>
            <a:r>
              <a:rPr lang="fr-FR" altLang="fr-FR" dirty="0"/>
              <a:t>Quatrième niveau</a:t>
            </a:r>
          </a:p>
        </p:txBody>
      </p:sp>
      <p:cxnSp>
        <p:nvCxnSpPr>
          <p:cNvPr id="4" name="Connecteur droit 3"/>
          <p:cNvCxnSpPr/>
          <p:nvPr/>
        </p:nvCxnSpPr>
        <p:spPr bwMode="auto">
          <a:xfrm flipH="1">
            <a:off x="484982" y="6227787"/>
            <a:ext cx="8936039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" name="Image 6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3570" y="6194460"/>
            <a:ext cx="1309807" cy="518337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471565" y="6387880"/>
            <a:ext cx="780000" cy="1919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fr-FR" sz="900" b="0" smtClean="0">
                <a:solidFill>
                  <a:schemeClr val="tx1"/>
                </a:solidFill>
              </a:defRPr>
            </a:lvl1pPr>
          </a:lstStyle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 flipH="1">
            <a:off x="484982" y="6227787"/>
            <a:ext cx="8936039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" name="Image 8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3570" y="6194460"/>
            <a:ext cx="1309807" cy="518337"/>
          </a:xfrm>
          <a:prstGeom prst="rect">
            <a:avLst/>
          </a:prstGeo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756628" y="6387880"/>
            <a:ext cx="6630000" cy="18385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fr-FR" sz="900" b="0"/>
            </a:lvl1pPr>
          </a:lstStyle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685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Arial" pitchFamily="34" charset="0"/>
        <a:buNone/>
        <a:tabLst>
          <a:tab pos="1082675" algn="l"/>
          <a:tab pos="1616075" algn="l"/>
          <a:tab pos="2149475" algn="l"/>
          <a:tab pos="8077200" algn="r"/>
        </a:tabLst>
        <a:defRPr sz="2200" b="1">
          <a:solidFill>
            <a:schemeClr val="tx2"/>
          </a:solidFill>
          <a:latin typeface="+mn-lt"/>
          <a:ea typeface="+mn-ea"/>
          <a:cs typeface="+mn-cs"/>
        </a:defRPr>
      </a:lvl1pPr>
      <a:lvl2pPr marL="628650" indent="-266700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Arial" pitchFamily="34" charset="0"/>
        <a:buChar char="■"/>
        <a:tabLst>
          <a:tab pos="1616075" algn="l"/>
          <a:tab pos="2330450" algn="l"/>
          <a:tab pos="8077200" algn="r"/>
        </a:tabLst>
        <a:defRPr sz="1800" b="0">
          <a:solidFill>
            <a:schemeClr val="tx2"/>
          </a:solidFill>
          <a:latin typeface="+mn-lt"/>
        </a:defRPr>
      </a:lvl2pPr>
      <a:lvl3pPr marL="1258888" indent="-176213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bg2"/>
        </a:buClr>
        <a:buSzPct val="120000"/>
        <a:buFontTx/>
        <a:buBlip>
          <a:blip r:embed="rId24"/>
        </a:buBlip>
        <a:tabLst>
          <a:tab pos="1082675" algn="l"/>
          <a:tab pos="2149475" algn="l"/>
          <a:tab pos="8077200" algn="r"/>
        </a:tabLst>
        <a:defRPr sz="1400">
          <a:solidFill>
            <a:schemeClr val="tx1"/>
          </a:solidFill>
          <a:latin typeface="+mn-lt"/>
        </a:defRPr>
      </a:lvl3pPr>
      <a:lvl4pPr marL="1787525" indent="-179388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bg2"/>
        </a:buClr>
        <a:buSzPct val="120000"/>
        <a:buFontTx/>
        <a:buBlip>
          <a:blip r:embed="rId24"/>
        </a:buBlip>
        <a:tabLst>
          <a:tab pos="1082675" algn="l"/>
          <a:tab pos="1616075" algn="l"/>
          <a:tab pos="2149475" algn="l"/>
          <a:tab pos="8077200" algn="r"/>
        </a:tabLst>
        <a:defRPr sz="1400">
          <a:solidFill>
            <a:schemeClr val="tx1"/>
          </a:solidFill>
          <a:latin typeface="+mn-lt"/>
        </a:defRPr>
      </a:lvl4pPr>
      <a:lvl5pPr marL="24209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5pPr>
      <a:lvl6pPr marL="28781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6pPr>
      <a:lvl7pPr marL="33353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7pPr>
      <a:lvl8pPr marL="37925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8pPr>
      <a:lvl9pPr marL="42497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27087767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Rectangle 9"/>
          <p:cNvSpPr>
            <a:spLocks noGrp="1" noChangeArrowheads="1"/>
          </p:cNvSpPr>
          <p:nvPr>
            <p:ph type="title"/>
          </p:nvPr>
        </p:nvSpPr>
        <p:spPr bwMode="gray">
          <a:xfrm>
            <a:off x="484981" y="352425"/>
            <a:ext cx="8936038" cy="5505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108000" tIns="108000" rIns="72000" bIns="108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dirty="0"/>
              <a:t>Cliquez et modifiez le titr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0526" y="1572694"/>
            <a:ext cx="9009000" cy="4586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  <a:p>
            <a:pPr lvl="3"/>
            <a:r>
              <a:rPr lang="fr-FR" altLang="fr-FR" dirty="0"/>
              <a:t>Quatrième niveau</a:t>
            </a:r>
          </a:p>
        </p:txBody>
      </p:sp>
      <p:cxnSp>
        <p:nvCxnSpPr>
          <p:cNvPr id="4" name="Connecteur droit 3"/>
          <p:cNvCxnSpPr/>
          <p:nvPr/>
        </p:nvCxnSpPr>
        <p:spPr bwMode="auto">
          <a:xfrm flipH="1">
            <a:off x="484982" y="6227787"/>
            <a:ext cx="8936039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" name="Image 6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3570" y="6194460"/>
            <a:ext cx="1309807" cy="518337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471565" y="6387880"/>
            <a:ext cx="780000" cy="1919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fr-FR" sz="900" b="0" smtClean="0">
                <a:solidFill>
                  <a:schemeClr val="tx1"/>
                </a:solidFill>
              </a:defRPr>
            </a:lvl1pPr>
          </a:lstStyle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fld id="{B0A9F6E7-FE5B-4861-9484-6E92718E32B1}" type="slidenum">
              <a:rPr lang="en-US">
                <a:solidFill>
                  <a:srgbClr val="000000"/>
                </a:solidFill>
              </a:rPr>
              <a:pPr eaLnBrk="0" hangingPunct="0">
                <a:lnSpc>
                  <a:spcPct val="90000"/>
                </a:lnSpc>
                <a:buClr>
                  <a:srgbClr val="FF3333"/>
                </a:buClr>
                <a:buSzPct val="120000"/>
                <a:tabLst>
                  <a:tab pos="1082675" algn="l"/>
                  <a:tab pos="1616075" algn="l"/>
                  <a:tab pos="2149475" algn="l"/>
                  <a:tab pos="8077200" algn="r"/>
                </a:tabLst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– 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 flipH="1">
            <a:off x="484982" y="6227787"/>
            <a:ext cx="8936039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" name="Image 8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3570" y="6194460"/>
            <a:ext cx="1309807" cy="518337"/>
          </a:xfrm>
          <a:prstGeom prst="rect">
            <a:avLst/>
          </a:prstGeo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756628" y="6387880"/>
            <a:ext cx="6630000" cy="18385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fr-FR" sz="900" b="0"/>
            </a:lvl1pPr>
          </a:lstStyle>
          <a:p>
            <a:pPr eaLnBrk="0" hangingPunct="0">
              <a:lnSpc>
                <a:spcPct val="90000"/>
              </a:lnSpc>
              <a:buClr>
                <a:srgbClr val="FF3333"/>
              </a:buClr>
              <a:buSzPct val="120000"/>
              <a:tabLst>
                <a:tab pos="1082675" algn="l"/>
                <a:tab pos="1616075" algn="l"/>
                <a:tab pos="2149475" algn="l"/>
                <a:tab pos="8077200" algn="r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298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9" r:id="rId18"/>
    <p:sldLayoutId id="2147483750" r:id="rId19"/>
    <p:sldLayoutId id="2147483751" r:id="rId20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Arial" pitchFamily="34" charset="0"/>
        <a:buNone/>
        <a:tabLst>
          <a:tab pos="1082675" algn="l"/>
          <a:tab pos="1616075" algn="l"/>
          <a:tab pos="2149475" algn="l"/>
          <a:tab pos="8077200" algn="r"/>
        </a:tabLst>
        <a:defRPr sz="2200" b="1">
          <a:solidFill>
            <a:schemeClr val="tx2"/>
          </a:solidFill>
          <a:latin typeface="+mn-lt"/>
          <a:ea typeface="+mn-ea"/>
          <a:cs typeface="+mn-cs"/>
        </a:defRPr>
      </a:lvl1pPr>
      <a:lvl2pPr marL="628650" indent="-266700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Arial" pitchFamily="34" charset="0"/>
        <a:buChar char="■"/>
        <a:tabLst>
          <a:tab pos="1616075" algn="l"/>
          <a:tab pos="2330450" algn="l"/>
          <a:tab pos="8077200" algn="r"/>
        </a:tabLst>
        <a:defRPr sz="1800" b="0">
          <a:solidFill>
            <a:schemeClr val="tx2"/>
          </a:solidFill>
          <a:latin typeface="+mn-lt"/>
        </a:defRPr>
      </a:lvl2pPr>
      <a:lvl3pPr marL="1258888" indent="-176213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bg2"/>
        </a:buClr>
        <a:buSzPct val="120000"/>
        <a:buFontTx/>
        <a:buBlip>
          <a:blip r:embed="rId27"/>
        </a:buBlip>
        <a:tabLst>
          <a:tab pos="1082675" algn="l"/>
          <a:tab pos="2149475" algn="l"/>
          <a:tab pos="8077200" algn="r"/>
        </a:tabLst>
        <a:defRPr sz="1400">
          <a:solidFill>
            <a:schemeClr val="tx1"/>
          </a:solidFill>
          <a:latin typeface="+mn-lt"/>
        </a:defRPr>
      </a:lvl3pPr>
      <a:lvl4pPr marL="1787525" indent="-179388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bg2"/>
        </a:buClr>
        <a:buSzPct val="120000"/>
        <a:buFontTx/>
        <a:buBlip>
          <a:blip r:embed="rId27"/>
        </a:buBlip>
        <a:tabLst>
          <a:tab pos="1082675" algn="l"/>
          <a:tab pos="1616075" algn="l"/>
          <a:tab pos="2149475" algn="l"/>
          <a:tab pos="8077200" algn="r"/>
        </a:tabLst>
        <a:defRPr sz="1400">
          <a:solidFill>
            <a:schemeClr val="tx1"/>
          </a:solidFill>
          <a:latin typeface="+mn-lt"/>
        </a:defRPr>
      </a:lvl4pPr>
      <a:lvl5pPr marL="24209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5pPr>
      <a:lvl6pPr marL="28781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6pPr>
      <a:lvl7pPr marL="33353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7pPr>
      <a:lvl8pPr marL="37925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8pPr>
      <a:lvl9pPr marL="42497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471565" y="6387880"/>
            <a:ext cx="780000" cy="19195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1B11CED-4E3B-3F46-8FC4-5A849D1EB6B3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953218" y="6387880"/>
            <a:ext cx="6433410" cy="19195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8028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8" r:id="rId4"/>
    <p:sldLayoutId id="2147483759" r:id="rId5"/>
    <p:sldLayoutId id="2147483760" r:id="rId6"/>
    <p:sldLayoutId id="2147483761" r:id="rId7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29295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Arial" pitchFamily="34" charset="0"/>
        <a:buNone/>
        <a:tabLst>
          <a:tab pos="1082675" algn="l"/>
          <a:tab pos="1616075" algn="l"/>
          <a:tab pos="2149475" algn="l"/>
          <a:tab pos="8077200" algn="r"/>
        </a:tabLst>
        <a:defRPr sz="2200" b="1">
          <a:solidFill>
            <a:schemeClr val="tx2"/>
          </a:solidFill>
          <a:latin typeface="+mn-lt"/>
          <a:ea typeface="+mn-ea"/>
          <a:cs typeface="+mn-cs"/>
        </a:defRPr>
      </a:lvl1pPr>
      <a:lvl2pPr marL="628650" indent="-266700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Arial" pitchFamily="34" charset="0"/>
        <a:buChar char="■"/>
        <a:tabLst>
          <a:tab pos="1616075" algn="l"/>
          <a:tab pos="2330450" algn="l"/>
          <a:tab pos="8077200" algn="r"/>
        </a:tabLst>
        <a:defRPr sz="1800" b="0">
          <a:solidFill>
            <a:srgbClr val="29295C"/>
          </a:solidFill>
          <a:latin typeface="+mn-lt"/>
        </a:defRPr>
      </a:lvl2pPr>
      <a:lvl3pPr marL="1258888" indent="-176213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bg2"/>
        </a:buClr>
        <a:buSzPct val="120000"/>
        <a:buFontTx/>
        <a:buBlip>
          <a:blip r:embed="rId9"/>
        </a:buBlip>
        <a:tabLst>
          <a:tab pos="1082675" algn="l"/>
          <a:tab pos="2149475" algn="l"/>
          <a:tab pos="8077200" algn="r"/>
        </a:tabLst>
        <a:defRPr sz="1400">
          <a:solidFill>
            <a:srgbClr val="29295C"/>
          </a:solidFill>
          <a:latin typeface="+mn-lt"/>
        </a:defRPr>
      </a:lvl3pPr>
      <a:lvl4pPr marL="1787525" indent="-179388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bg2"/>
        </a:buClr>
        <a:buSzPct val="120000"/>
        <a:buFontTx/>
        <a:buBlip>
          <a:blip r:embed="rId9"/>
        </a:buBlip>
        <a:tabLst>
          <a:tab pos="1082675" algn="l"/>
          <a:tab pos="1616075" algn="l"/>
          <a:tab pos="2149475" algn="l"/>
          <a:tab pos="8077200" algn="r"/>
        </a:tabLst>
        <a:defRPr sz="1400">
          <a:solidFill>
            <a:srgbClr val="29295C"/>
          </a:solidFill>
          <a:latin typeface="+mn-lt"/>
        </a:defRPr>
      </a:lvl4pPr>
      <a:lvl5pPr marL="24209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5pPr>
      <a:lvl6pPr marL="28781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6pPr>
      <a:lvl7pPr marL="33353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7pPr>
      <a:lvl8pPr marL="37925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8pPr>
      <a:lvl9pPr marL="42497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471565" y="6387880"/>
            <a:ext cx="780000" cy="19195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1B11CED-4E3B-3F46-8FC4-5A849D1EB6B3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953218" y="6387880"/>
            <a:ext cx="6433410" cy="19195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1613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8" r:id="rId4"/>
    <p:sldLayoutId id="2147483770" r:id="rId5"/>
    <p:sldLayoutId id="2147483771" r:id="rId6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29295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Arial" pitchFamily="34" charset="0"/>
        <a:buNone/>
        <a:tabLst>
          <a:tab pos="1082675" algn="l"/>
          <a:tab pos="1616075" algn="l"/>
          <a:tab pos="2149475" algn="l"/>
          <a:tab pos="8077200" algn="r"/>
        </a:tabLst>
        <a:defRPr sz="2200" b="1">
          <a:solidFill>
            <a:schemeClr val="tx2"/>
          </a:solidFill>
          <a:latin typeface="+mn-lt"/>
          <a:ea typeface="+mn-ea"/>
          <a:cs typeface="+mn-cs"/>
        </a:defRPr>
      </a:lvl1pPr>
      <a:lvl2pPr marL="628650" indent="-266700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Arial" pitchFamily="34" charset="0"/>
        <a:buChar char="■"/>
        <a:tabLst>
          <a:tab pos="1616075" algn="l"/>
          <a:tab pos="2330450" algn="l"/>
          <a:tab pos="8077200" algn="r"/>
        </a:tabLst>
        <a:defRPr sz="1800" b="0">
          <a:solidFill>
            <a:srgbClr val="29295C"/>
          </a:solidFill>
          <a:latin typeface="+mn-lt"/>
        </a:defRPr>
      </a:lvl2pPr>
      <a:lvl3pPr marL="1258888" indent="-176213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bg2"/>
        </a:buClr>
        <a:buSzPct val="120000"/>
        <a:buFontTx/>
        <a:buBlip>
          <a:blip r:embed="rId8"/>
        </a:buBlip>
        <a:tabLst>
          <a:tab pos="1082675" algn="l"/>
          <a:tab pos="2149475" algn="l"/>
          <a:tab pos="8077200" algn="r"/>
        </a:tabLst>
        <a:defRPr sz="1400">
          <a:solidFill>
            <a:srgbClr val="29295C"/>
          </a:solidFill>
          <a:latin typeface="+mn-lt"/>
        </a:defRPr>
      </a:lvl3pPr>
      <a:lvl4pPr marL="1787525" indent="-179388"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buClr>
          <a:schemeClr val="bg2"/>
        </a:buClr>
        <a:buSzPct val="120000"/>
        <a:buFontTx/>
        <a:buBlip>
          <a:blip r:embed="rId8"/>
        </a:buBlip>
        <a:tabLst>
          <a:tab pos="1082675" algn="l"/>
          <a:tab pos="1616075" algn="l"/>
          <a:tab pos="2149475" algn="l"/>
          <a:tab pos="8077200" algn="r"/>
        </a:tabLst>
        <a:defRPr sz="1400">
          <a:solidFill>
            <a:srgbClr val="29295C"/>
          </a:solidFill>
          <a:latin typeface="+mn-lt"/>
        </a:defRPr>
      </a:lvl4pPr>
      <a:lvl5pPr marL="24209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5pPr>
      <a:lvl6pPr marL="28781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6pPr>
      <a:lvl7pPr marL="33353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7pPr>
      <a:lvl8pPr marL="37925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8pPr>
      <a:lvl9pPr marL="424973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tabLst>
          <a:tab pos="1082675" algn="l"/>
          <a:tab pos="1616075" algn="l"/>
          <a:tab pos="2149475" algn="l"/>
          <a:tab pos="8077200" algn="r"/>
        </a:tabLst>
        <a:defRPr sz="16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-suiteanalytics.com/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0" y="2764202"/>
            <a:ext cx="8970000" cy="2124749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sz="3200" dirty="0"/>
              <a:t>Recruiting, Engaging, and Retaining Tomorrow’s Workforce</a:t>
            </a:r>
            <a:br>
              <a:rPr lang="en-US" sz="3200" dirty="0"/>
            </a:br>
            <a:endParaRPr lang="en-US" sz="3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84E8B2-DDCF-4B90-B558-6ADC367EC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7256" y="5733256"/>
            <a:ext cx="1944216" cy="769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58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ORKFORCE PLANNING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728864" y="1700808"/>
            <a:ext cx="5692155" cy="3628600"/>
            <a:chOff x="3728864" y="1100545"/>
            <a:chExt cx="6014440" cy="3458635"/>
          </a:xfrm>
        </p:grpSpPr>
        <p:pic>
          <p:nvPicPr>
            <p:cNvPr id="78853" name="Picture 5" descr="C:\Users\JimM\AppData\Local\Microsoft\Windows\Temporary Internet Files\Content.IE5\G37D65R0\poblacion2[1]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8864" y="1100545"/>
              <a:ext cx="6014440" cy="3458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5210411" y="2112529"/>
              <a:ext cx="99527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Technical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6913671" y="2357935"/>
              <a:ext cx="111921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Manageria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376936" y="2866425"/>
              <a:ext cx="106311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Frontline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497590" y="3573014"/>
              <a:ext cx="8210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Clinical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205683" y="2112529"/>
              <a:ext cx="58381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bg1"/>
                  </a:solidFill>
                </a:rPr>
                <a:t>Admin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618519" y="1843950"/>
            <a:ext cx="2935343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3366CC"/>
              </a:buClr>
              <a:buFont typeface="Wingdings" panose="05000000000000000000" pitchFamily="2" charset="2"/>
              <a:buChar char="Ø"/>
            </a:pPr>
            <a:r>
              <a:rPr lang="en-US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nds in Turnover</a:t>
            </a:r>
          </a:p>
          <a:p>
            <a:pPr>
              <a:buClr>
                <a:srgbClr val="3366CC"/>
              </a:buClr>
            </a:pPr>
            <a:endParaRPr lang="en-US" sz="1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Clr>
                <a:srgbClr val="3366CC"/>
              </a:buClr>
              <a:buFont typeface="Wingdings" panose="05000000000000000000" pitchFamily="2" charset="2"/>
              <a:buChar char="Ø"/>
            </a:pPr>
            <a:r>
              <a:rPr lang="en-US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versity and Generational Mix</a:t>
            </a:r>
          </a:p>
          <a:p>
            <a:pPr>
              <a:buClr>
                <a:srgbClr val="3366CC"/>
              </a:buClr>
            </a:pPr>
            <a:endParaRPr lang="en-US" sz="1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Clr>
                <a:srgbClr val="3366CC"/>
              </a:buClr>
              <a:buFont typeface="Wingdings" panose="05000000000000000000" pitchFamily="2" charset="2"/>
              <a:buChar char="Ø"/>
            </a:pPr>
            <a:r>
              <a:rPr lang="en-US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nal and External Pipeline</a:t>
            </a:r>
          </a:p>
          <a:p>
            <a:endParaRPr lang="en-US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86297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OMOTING YOUR BRAND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8ABDA29-1F5E-4890-8146-DFCD91121C3C}"/>
              </a:ext>
            </a:extLst>
          </p:cNvPr>
          <p:cNvGrpSpPr/>
          <p:nvPr/>
        </p:nvGrpSpPr>
        <p:grpSpPr>
          <a:xfrm>
            <a:off x="3440389" y="2204864"/>
            <a:ext cx="5034332" cy="3751015"/>
            <a:chOff x="2718241" y="1917421"/>
            <a:chExt cx="4219575" cy="3525554"/>
          </a:xfrm>
        </p:grpSpPr>
        <p:pic>
          <p:nvPicPr>
            <p:cNvPr id="21" name="Picture 2" descr="C:\Users\JimM\AppData\Local\Microsoft\Windows\Temporary Internet Files\Content.IE5\NYFTVHVP\443px-Aiga_stairs.svg[1].png">
              <a:extLst>
                <a:ext uri="{FF2B5EF4-FFF2-40B4-BE49-F238E27FC236}">
                  <a16:creationId xmlns:a16="http://schemas.microsoft.com/office/drawing/2014/main" id="{926FB3D5-3010-4FBD-B41C-0AD49EDBC8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18241" y="1917421"/>
              <a:ext cx="4219575" cy="3495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3" descr="C:\Users\JimM\AppData\Local\Microsoft\Windows\Temporary Internet Files\Content.IE5\TR9IN6ZP\dialogo[1].jpg">
              <a:extLst>
                <a:ext uri="{FF2B5EF4-FFF2-40B4-BE49-F238E27FC236}">
                  <a16:creationId xmlns:a16="http://schemas.microsoft.com/office/drawing/2014/main" id="{5B97E16C-1C3B-4D87-81F9-CD9755A70E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0264" y="4636368"/>
              <a:ext cx="764704" cy="8066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3" descr="C:\Users\JimM\AppData\Local\Microsoft\Windows\Temporary Internet Files\Content.IE5\TR9IN6ZP\dialogo[1].jpg">
              <a:extLst>
                <a:ext uri="{FF2B5EF4-FFF2-40B4-BE49-F238E27FC236}">
                  <a16:creationId xmlns:a16="http://schemas.microsoft.com/office/drawing/2014/main" id="{1F8B7A33-EF46-4EBC-A604-2FAF59CAD2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4968" y="3886081"/>
              <a:ext cx="764704" cy="8066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3" descr="C:\Users\JimM\AppData\Local\Microsoft\Windows\Temporary Internet Files\Content.IE5\TR9IN6ZP\dialogo[1].jpg">
              <a:extLst>
                <a:ext uri="{FF2B5EF4-FFF2-40B4-BE49-F238E27FC236}">
                  <a16:creationId xmlns:a16="http://schemas.microsoft.com/office/drawing/2014/main" id="{6AC3A21C-F548-445D-A6B3-DCC3EFD0ED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8308" y="3079474"/>
              <a:ext cx="764704" cy="8066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3" descr="C:\Users\JimM\AppData\Local\Microsoft\Windows\Temporary Internet Files\Content.IE5\TR9IN6ZP\dialogo[1].jpg">
              <a:extLst>
                <a:ext uri="{FF2B5EF4-FFF2-40B4-BE49-F238E27FC236}">
                  <a16:creationId xmlns:a16="http://schemas.microsoft.com/office/drawing/2014/main" id="{F5351C6D-BAB5-43BE-80A4-65962AEDBA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3112" y="2306342"/>
              <a:ext cx="764704" cy="8066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E4ED65AD-4F01-4918-9BC9-87092186416C}"/>
              </a:ext>
            </a:extLst>
          </p:cNvPr>
          <p:cNvSpPr txBox="1"/>
          <p:nvPr/>
        </p:nvSpPr>
        <p:spPr>
          <a:xfrm>
            <a:off x="1280592" y="1632529"/>
            <a:ext cx="4006033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66CC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What’s </a:t>
            </a:r>
            <a:r>
              <a:rPr kumimoji="0" lang="en-US" sz="2400" b="1" i="0" u="sng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In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 the Message?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66CC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66CC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Is it </a:t>
            </a:r>
            <a:r>
              <a:rPr kumimoji="0" lang="en-US" sz="2400" b="1" i="0" u="sng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Inclusive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?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66CC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66CC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Can you </a:t>
            </a:r>
            <a:r>
              <a:rPr kumimoji="0" lang="en-US" sz="2400" b="1" i="0" u="sng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personalize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 it?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31019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PAND YOUR CAPABILITIES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26CF9A6A-0813-4C5C-9E6A-D1C2A2A06F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0638" y="2331429"/>
            <a:ext cx="7290820" cy="3628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0" descr="C:\Users\JimM\AppData\Local\Microsoft\Windows\Temporary Internet Files\Content.IE5\NYFTVHVP\5727273954_fc6846ae01_z[1].jpg">
            <a:extLst>
              <a:ext uri="{FF2B5EF4-FFF2-40B4-BE49-F238E27FC236}">
                <a16:creationId xmlns:a16="http://schemas.microsoft.com/office/drawing/2014/main" id="{78F78379-C89A-4271-86E8-2A78CC428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5885" y="1700432"/>
            <a:ext cx="2005573" cy="126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7526ACA-9A24-4492-803A-46E952BBEDA6}"/>
              </a:ext>
            </a:extLst>
          </p:cNvPr>
          <p:cNvSpPr txBox="1"/>
          <p:nvPr/>
        </p:nvSpPr>
        <p:spPr>
          <a:xfrm>
            <a:off x="344488" y="1340768"/>
            <a:ext cx="382536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/>
              </a:rPr>
              <a:t>Ease and Efficiency</a:t>
            </a:r>
          </a:p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/>
              </a:rPr>
              <a:t>Passive Candidates</a:t>
            </a:r>
          </a:p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/>
              </a:rPr>
              <a:t>Think outside of the Box</a:t>
            </a:r>
          </a:p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/>
              </a:rPr>
              <a:t>Looking in the Right Places</a:t>
            </a:r>
          </a:p>
        </p:txBody>
      </p:sp>
    </p:spTree>
    <p:extLst>
      <p:ext uri="{BB962C8B-B14F-4D97-AF65-F5344CB8AC3E}">
        <p14:creationId xmlns:p14="http://schemas.microsoft.com/office/powerpoint/2010/main" val="220192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為什麼清朝人不用準備退休金？ | 富朋友理財筆記">
            <a:extLst>
              <a:ext uri="{FF2B5EF4-FFF2-40B4-BE49-F238E27FC236}">
                <a16:creationId xmlns:a16="http://schemas.microsoft.com/office/drawing/2014/main" id="{87156704-7579-487D-B5A6-94854CD4B8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086" y="3645145"/>
            <a:ext cx="2548867" cy="2548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IRING THE RIGHT PEOPLE</a:t>
            </a: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B14F0124-3A17-49AB-80FD-3E6E4DBEE31B}"/>
              </a:ext>
            </a:extLst>
          </p:cNvPr>
          <p:cNvSpPr txBox="1">
            <a:spLocks/>
          </p:cNvSpPr>
          <p:nvPr/>
        </p:nvSpPr>
        <p:spPr>
          <a:xfrm>
            <a:off x="489375" y="1268760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Behavioral Based Interview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Attitude versus Skill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Referral Bonus 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On-Line Applications (Mobil friendly)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Engaging the team not just leadership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17" name="Content Placeholder 9" descr="Job creation taking a March madness dive. - Ground Report">
            <a:extLst>
              <a:ext uri="{FF2B5EF4-FFF2-40B4-BE49-F238E27FC236}">
                <a16:creationId xmlns:a16="http://schemas.microsoft.com/office/drawing/2014/main" id="{C96DF9CF-BCDE-4646-B899-06AAE2F14B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9264" y="902933"/>
            <a:ext cx="2345470" cy="1816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34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TAINING THE RIGHT PEOPLE BY ENGAGEMEN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81542" y="981076"/>
            <a:ext cx="3175314" cy="5165725"/>
          </a:xfrm>
        </p:spPr>
        <p:txBody>
          <a:bodyPr/>
          <a:lstStyle/>
          <a:p>
            <a:r>
              <a:rPr lang="en-US" sz="3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tivators</a:t>
            </a:r>
          </a:p>
          <a:p>
            <a:r>
              <a:rPr lang="en-US" sz="3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munication</a:t>
            </a:r>
          </a:p>
          <a:p>
            <a:r>
              <a:rPr lang="en-US" sz="3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rection</a:t>
            </a:r>
          </a:p>
        </p:txBody>
      </p:sp>
      <p:sp>
        <p:nvSpPr>
          <p:cNvPr id="98" name="Title 1"/>
          <p:cNvSpPr txBox="1">
            <a:spLocks/>
          </p:cNvSpPr>
          <p:nvPr/>
        </p:nvSpPr>
        <p:spPr>
          <a:xfrm>
            <a:off x="628650" y="317501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D356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1D356B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47" name="Freeform 146"/>
          <p:cNvSpPr/>
          <p:nvPr/>
        </p:nvSpPr>
        <p:spPr>
          <a:xfrm flipH="1">
            <a:off x="3282875" y="2621663"/>
            <a:ext cx="43157" cy="15158"/>
          </a:xfrm>
          <a:custGeom>
            <a:avLst/>
            <a:gdLst>
              <a:gd name="connsiteX0" fmla="*/ 14342 w 948184"/>
              <a:gd name="connsiteY0" fmla="*/ 0 h 333033"/>
              <a:gd name="connsiteX1" fmla="*/ 933842 w 948184"/>
              <a:gd name="connsiteY1" fmla="*/ 0 h 333033"/>
              <a:gd name="connsiteX2" fmla="*/ 948184 w 948184"/>
              <a:gd name="connsiteY2" fmla="*/ 71038 h 333033"/>
              <a:gd name="connsiteX3" fmla="*/ 948184 w 948184"/>
              <a:gd name="connsiteY3" fmla="*/ 86448 h 333033"/>
              <a:gd name="connsiteX4" fmla="*/ 701599 w 948184"/>
              <a:gd name="connsiteY4" fmla="*/ 333033 h 333033"/>
              <a:gd name="connsiteX5" fmla="*/ 246585 w 948184"/>
              <a:gd name="connsiteY5" fmla="*/ 333033 h 333033"/>
              <a:gd name="connsiteX6" fmla="*/ 0 w 948184"/>
              <a:gd name="connsiteY6" fmla="*/ 86448 h 333033"/>
              <a:gd name="connsiteX7" fmla="*/ 0 w 948184"/>
              <a:gd name="connsiteY7" fmla="*/ 71038 h 333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8184" h="333033">
                <a:moveTo>
                  <a:pt x="14342" y="0"/>
                </a:moveTo>
                <a:lnTo>
                  <a:pt x="933842" y="0"/>
                </a:lnTo>
                <a:lnTo>
                  <a:pt x="948184" y="71038"/>
                </a:lnTo>
                <a:lnTo>
                  <a:pt x="948184" y="86448"/>
                </a:lnTo>
                <a:cubicBezTo>
                  <a:pt x="948184" y="222633"/>
                  <a:pt x="837784" y="333033"/>
                  <a:pt x="701599" y="333033"/>
                </a:cubicBezTo>
                <a:lnTo>
                  <a:pt x="246585" y="333033"/>
                </a:lnTo>
                <a:cubicBezTo>
                  <a:pt x="110400" y="333033"/>
                  <a:pt x="0" y="222633"/>
                  <a:pt x="0" y="86448"/>
                </a:cubicBezTo>
                <a:lnTo>
                  <a:pt x="0" y="71038"/>
                </a:lnTo>
                <a:close/>
              </a:path>
            </a:pathLst>
          </a:cu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Freeform 147"/>
          <p:cNvSpPr>
            <a:spLocks/>
          </p:cNvSpPr>
          <p:nvPr/>
        </p:nvSpPr>
        <p:spPr bwMode="auto">
          <a:xfrm flipH="1">
            <a:off x="3308436" y="2438066"/>
            <a:ext cx="9446" cy="114968"/>
          </a:xfrm>
          <a:custGeom>
            <a:avLst/>
            <a:gdLst>
              <a:gd name="connsiteX0" fmla="*/ 103773 w 207546"/>
              <a:gd name="connsiteY0" fmla="*/ 0 h 2525926"/>
              <a:gd name="connsiteX1" fmla="*/ 207546 w 207546"/>
              <a:gd name="connsiteY1" fmla="*/ 103773 h 2525926"/>
              <a:gd name="connsiteX2" fmla="*/ 207546 w 207546"/>
              <a:gd name="connsiteY2" fmla="*/ 2525926 h 2525926"/>
              <a:gd name="connsiteX3" fmla="*/ 0 w 207546"/>
              <a:gd name="connsiteY3" fmla="*/ 2525926 h 2525926"/>
              <a:gd name="connsiteX4" fmla="*/ 0 w 207546"/>
              <a:gd name="connsiteY4" fmla="*/ 103773 h 2525926"/>
              <a:gd name="connsiteX5" fmla="*/ 103773 w 207546"/>
              <a:gd name="connsiteY5" fmla="*/ 0 h 2525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546" h="2525926">
                <a:moveTo>
                  <a:pt x="103773" y="0"/>
                </a:moveTo>
                <a:cubicBezTo>
                  <a:pt x="161087" y="0"/>
                  <a:pt x="207546" y="46459"/>
                  <a:pt x="207546" y="103773"/>
                </a:cubicBezTo>
                <a:lnTo>
                  <a:pt x="207546" y="2525926"/>
                </a:lnTo>
                <a:lnTo>
                  <a:pt x="0" y="2525926"/>
                </a:lnTo>
                <a:lnTo>
                  <a:pt x="0" y="103773"/>
                </a:lnTo>
                <a:cubicBezTo>
                  <a:pt x="0" y="46459"/>
                  <a:pt x="46459" y="0"/>
                  <a:pt x="103773" y="0"/>
                </a:cubicBezTo>
                <a:close/>
              </a:path>
            </a:pathLst>
          </a:custGeom>
          <a:solidFill>
            <a:sysClr val="window" lastClr="FFFFFF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7043" name="Picture 3" descr="C:\Users\JimM\AppData\Local\Microsoft\Windows\Temporary Internet Files\Content.IE5\EZDLWMUO\266584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2880" y="1677344"/>
            <a:ext cx="5250160" cy="3563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872880" y="5056224"/>
            <a:ext cx="51376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/>
              <a:t>“Employee Engagement is a Consequence, not an Action”</a:t>
            </a:r>
          </a:p>
        </p:txBody>
      </p:sp>
    </p:spTree>
    <p:extLst>
      <p:ext uri="{BB962C8B-B14F-4D97-AF65-F5344CB8AC3E}">
        <p14:creationId xmlns:p14="http://schemas.microsoft.com/office/powerpoint/2010/main" val="3920999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RST IMPRESSIONS MATTER</a:t>
            </a:r>
          </a:p>
        </p:txBody>
      </p:sp>
      <p:sp>
        <p:nvSpPr>
          <p:cNvPr id="147" name="Freeform 146"/>
          <p:cNvSpPr/>
          <p:nvPr/>
        </p:nvSpPr>
        <p:spPr>
          <a:xfrm flipH="1">
            <a:off x="3282875" y="2621663"/>
            <a:ext cx="43157" cy="15158"/>
          </a:xfrm>
          <a:custGeom>
            <a:avLst/>
            <a:gdLst>
              <a:gd name="connsiteX0" fmla="*/ 14342 w 948184"/>
              <a:gd name="connsiteY0" fmla="*/ 0 h 333033"/>
              <a:gd name="connsiteX1" fmla="*/ 933842 w 948184"/>
              <a:gd name="connsiteY1" fmla="*/ 0 h 333033"/>
              <a:gd name="connsiteX2" fmla="*/ 948184 w 948184"/>
              <a:gd name="connsiteY2" fmla="*/ 71038 h 333033"/>
              <a:gd name="connsiteX3" fmla="*/ 948184 w 948184"/>
              <a:gd name="connsiteY3" fmla="*/ 86448 h 333033"/>
              <a:gd name="connsiteX4" fmla="*/ 701599 w 948184"/>
              <a:gd name="connsiteY4" fmla="*/ 333033 h 333033"/>
              <a:gd name="connsiteX5" fmla="*/ 246585 w 948184"/>
              <a:gd name="connsiteY5" fmla="*/ 333033 h 333033"/>
              <a:gd name="connsiteX6" fmla="*/ 0 w 948184"/>
              <a:gd name="connsiteY6" fmla="*/ 86448 h 333033"/>
              <a:gd name="connsiteX7" fmla="*/ 0 w 948184"/>
              <a:gd name="connsiteY7" fmla="*/ 71038 h 333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8184" h="333033">
                <a:moveTo>
                  <a:pt x="14342" y="0"/>
                </a:moveTo>
                <a:lnTo>
                  <a:pt x="933842" y="0"/>
                </a:lnTo>
                <a:lnTo>
                  <a:pt x="948184" y="71038"/>
                </a:lnTo>
                <a:lnTo>
                  <a:pt x="948184" y="86448"/>
                </a:lnTo>
                <a:cubicBezTo>
                  <a:pt x="948184" y="222633"/>
                  <a:pt x="837784" y="333033"/>
                  <a:pt x="701599" y="333033"/>
                </a:cubicBezTo>
                <a:lnTo>
                  <a:pt x="246585" y="333033"/>
                </a:lnTo>
                <a:cubicBezTo>
                  <a:pt x="110400" y="333033"/>
                  <a:pt x="0" y="222633"/>
                  <a:pt x="0" y="86448"/>
                </a:cubicBezTo>
                <a:lnTo>
                  <a:pt x="0" y="71038"/>
                </a:lnTo>
                <a:close/>
              </a:path>
            </a:pathLst>
          </a:cu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Freeform 147"/>
          <p:cNvSpPr>
            <a:spLocks/>
          </p:cNvSpPr>
          <p:nvPr/>
        </p:nvSpPr>
        <p:spPr bwMode="auto">
          <a:xfrm flipH="1">
            <a:off x="3308436" y="2438066"/>
            <a:ext cx="9446" cy="114968"/>
          </a:xfrm>
          <a:custGeom>
            <a:avLst/>
            <a:gdLst>
              <a:gd name="connsiteX0" fmla="*/ 103773 w 207546"/>
              <a:gd name="connsiteY0" fmla="*/ 0 h 2525926"/>
              <a:gd name="connsiteX1" fmla="*/ 207546 w 207546"/>
              <a:gd name="connsiteY1" fmla="*/ 103773 h 2525926"/>
              <a:gd name="connsiteX2" fmla="*/ 207546 w 207546"/>
              <a:gd name="connsiteY2" fmla="*/ 2525926 h 2525926"/>
              <a:gd name="connsiteX3" fmla="*/ 0 w 207546"/>
              <a:gd name="connsiteY3" fmla="*/ 2525926 h 2525926"/>
              <a:gd name="connsiteX4" fmla="*/ 0 w 207546"/>
              <a:gd name="connsiteY4" fmla="*/ 103773 h 2525926"/>
              <a:gd name="connsiteX5" fmla="*/ 103773 w 207546"/>
              <a:gd name="connsiteY5" fmla="*/ 0 h 2525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546" h="2525926">
                <a:moveTo>
                  <a:pt x="103773" y="0"/>
                </a:moveTo>
                <a:cubicBezTo>
                  <a:pt x="161087" y="0"/>
                  <a:pt x="207546" y="46459"/>
                  <a:pt x="207546" y="103773"/>
                </a:cubicBezTo>
                <a:lnTo>
                  <a:pt x="207546" y="2525926"/>
                </a:lnTo>
                <a:lnTo>
                  <a:pt x="0" y="2525926"/>
                </a:lnTo>
                <a:lnTo>
                  <a:pt x="0" y="103773"/>
                </a:lnTo>
                <a:cubicBezTo>
                  <a:pt x="0" y="46459"/>
                  <a:pt x="46459" y="0"/>
                  <a:pt x="103773" y="0"/>
                </a:cubicBezTo>
                <a:close/>
              </a:path>
            </a:pathLst>
          </a:custGeom>
          <a:solidFill>
            <a:sysClr val="window" lastClr="FFFFFF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 descr="Join - Alpine Eco">
            <a:extLst>
              <a:ext uri="{FF2B5EF4-FFF2-40B4-BE49-F238E27FC236}">
                <a16:creationId xmlns:a16="http://schemas.microsoft.com/office/drawing/2014/main" id="{F12E0F5F-649D-4FB3-801C-0E6FD19FF54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64" y="1213930"/>
            <a:ext cx="2016224" cy="100961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10901CD-744D-41CB-A462-94322906B170}"/>
              </a:ext>
            </a:extLst>
          </p:cNvPr>
          <p:cNvSpPr txBox="1"/>
          <p:nvPr/>
        </p:nvSpPr>
        <p:spPr>
          <a:xfrm>
            <a:off x="2082959" y="1124744"/>
            <a:ext cx="3806146" cy="4416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defTabSz="457200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300" dirty="0">
                <a:solidFill>
                  <a:srgbClr val="2C3C43"/>
                </a:solidFill>
                <a:latin typeface="Trebuchet MS" panose="020B0603020202020204"/>
              </a:rPr>
              <a:t>Red Carpet Treatment</a:t>
            </a:r>
          </a:p>
          <a:p>
            <a:pPr marL="914400" lvl="1" indent="-45720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300" dirty="0">
                <a:solidFill>
                  <a:srgbClr val="2C3C43"/>
                </a:solidFill>
                <a:latin typeface="Trebuchet MS" panose="020B0603020202020204"/>
              </a:rPr>
              <a:t>Welcome Posters</a:t>
            </a:r>
          </a:p>
          <a:p>
            <a:pPr marL="914400" lvl="1" indent="-45720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300" dirty="0">
                <a:solidFill>
                  <a:srgbClr val="2C3C43"/>
                </a:solidFill>
                <a:latin typeface="Trebuchet MS" panose="020B0603020202020204"/>
              </a:rPr>
              <a:t>Facebook Post</a:t>
            </a:r>
          </a:p>
          <a:p>
            <a:pPr lvl="1" defTabSz="457200" fontAlgn="auto">
              <a:spcBef>
                <a:spcPts val="0"/>
              </a:spcBef>
              <a:spcAft>
                <a:spcPts val="0"/>
              </a:spcAft>
            </a:pPr>
            <a:endParaRPr lang="en-US" sz="2300" dirty="0">
              <a:solidFill>
                <a:srgbClr val="2C3C43"/>
              </a:solidFill>
              <a:latin typeface="Trebuchet MS" panose="020B0603020202020204"/>
            </a:endParaRPr>
          </a:p>
          <a:p>
            <a:pPr marL="457200" indent="-45720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300" dirty="0">
                <a:solidFill>
                  <a:srgbClr val="2C3C43"/>
                </a:solidFill>
                <a:latin typeface="Trebuchet MS" panose="020B0603020202020204"/>
              </a:rPr>
              <a:t>Welcome Letter         (pre-orientation)</a:t>
            </a:r>
          </a:p>
          <a:p>
            <a:pPr marL="457200" indent="-45720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2300" dirty="0">
              <a:solidFill>
                <a:srgbClr val="2C3C43"/>
              </a:solidFill>
              <a:latin typeface="Trebuchet MS" panose="020B0603020202020204"/>
            </a:endParaRPr>
          </a:p>
          <a:p>
            <a:pPr marL="457200" indent="-45720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300" dirty="0">
                <a:solidFill>
                  <a:srgbClr val="2C3C43"/>
                </a:solidFill>
                <a:latin typeface="Trebuchet MS" panose="020B0603020202020204"/>
              </a:rPr>
              <a:t>Welcome Aboard Cards</a:t>
            </a:r>
          </a:p>
          <a:p>
            <a:pPr marL="457200" indent="-45720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2300" dirty="0">
              <a:solidFill>
                <a:srgbClr val="2C3C43"/>
              </a:solidFill>
              <a:latin typeface="Trebuchet MS" panose="020B0603020202020204"/>
            </a:endParaRPr>
          </a:p>
          <a:p>
            <a:pPr marL="457200" indent="-45720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300" dirty="0">
                <a:solidFill>
                  <a:srgbClr val="2C3C43"/>
                </a:solidFill>
                <a:latin typeface="Trebuchet MS" panose="020B0603020202020204"/>
              </a:rPr>
              <a:t>Employee Recognition Preference Profile</a:t>
            </a:r>
          </a:p>
          <a:p>
            <a:pPr marL="457200" indent="-45720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2300" dirty="0">
              <a:solidFill>
                <a:srgbClr val="2C3C43"/>
              </a:solidFill>
              <a:latin typeface="Caxton Std Book" pitchFamily="18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2AB8DCE-D75B-4012-9939-84B37AE4D4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4792" y="1988840"/>
            <a:ext cx="3179891" cy="4169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824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MPLOYMENT MOTIVATORS</a:t>
            </a:r>
          </a:p>
        </p:txBody>
      </p:sp>
      <p:sp>
        <p:nvSpPr>
          <p:cNvPr id="147" name="Freeform 146"/>
          <p:cNvSpPr/>
          <p:nvPr/>
        </p:nvSpPr>
        <p:spPr>
          <a:xfrm flipH="1">
            <a:off x="3282875" y="2621663"/>
            <a:ext cx="43157" cy="15158"/>
          </a:xfrm>
          <a:custGeom>
            <a:avLst/>
            <a:gdLst>
              <a:gd name="connsiteX0" fmla="*/ 14342 w 948184"/>
              <a:gd name="connsiteY0" fmla="*/ 0 h 333033"/>
              <a:gd name="connsiteX1" fmla="*/ 933842 w 948184"/>
              <a:gd name="connsiteY1" fmla="*/ 0 h 333033"/>
              <a:gd name="connsiteX2" fmla="*/ 948184 w 948184"/>
              <a:gd name="connsiteY2" fmla="*/ 71038 h 333033"/>
              <a:gd name="connsiteX3" fmla="*/ 948184 w 948184"/>
              <a:gd name="connsiteY3" fmla="*/ 86448 h 333033"/>
              <a:gd name="connsiteX4" fmla="*/ 701599 w 948184"/>
              <a:gd name="connsiteY4" fmla="*/ 333033 h 333033"/>
              <a:gd name="connsiteX5" fmla="*/ 246585 w 948184"/>
              <a:gd name="connsiteY5" fmla="*/ 333033 h 333033"/>
              <a:gd name="connsiteX6" fmla="*/ 0 w 948184"/>
              <a:gd name="connsiteY6" fmla="*/ 86448 h 333033"/>
              <a:gd name="connsiteX7" fmla="*/ 0 w 948184"/>
              <a:gd name="connsiteY7" fmla="*/ 71038 h 333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8184" h="333033">
                <a:moveTo>
                  <a:pt x="14342" y="0"/>
                </a:moveTo>
                <a:lnTo>
                  <a:pt x="933842" y="0"/>
                </a:lnTo>
                <a:lnTo>
                  <a:pt x="948184" y="71038"/>
                </a:lnTo>
                <a:lnTo>
                  <a:pt x="948184" y="86448"/>
                </a:lnTo>
                <a:cubicBezTo>
                  <a:pt x="948184" y="222633"/>
                  <a:pt x="837784" y="333033"/>
                  <a:pt x="701599" y="333033"/>
                </a:cubicBezTo>
                <a:lnTo>
                  <a:pt x="246585" y="333033"/>
                </a:lnTo>
                <a:cubicBezTo>
                  <a:pt x="110400" y="333033"/>
                  <a:pt x="0" y="222633"/>
                  <a:pt x="0" y="86448"/>
                </a:cubicBezTo>
                <a:lnTo>
                  <a:pt x="0" y="71038"/>
                </a:lnTo>
                <a:close/>
              </a:path>
            </a:pathLst>
          </a:cu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Freeform 147"/>
          <p:cNvSpPr>
            <a:spLocks/>
          </p:cNvSpPr>
          <p:nvPr/>
        </p:nvSpPr>
        <p:spPr bwMode="auto">
          <a:xfrm flipH="1">
            <a:off x="3308436" y="2438066"/>
            <a:ext cx="9446" cy="114968"/>
          </a:xfrm>
          <a:custGeom>
            <a:avLst/>
            <a:gdLst>
              <a:gd name="connsiteX0" fmla="*/ 103773 w 207546"/>
              <a:gd name="connsiteY0" fmla="*/ 0 h 2525926"/>
              <a:gd name="connsiteX1" fmla="*/ 207546 w 207546"/>
              <a:gd name="connsiteY1" fmla="*/ 103773 h 2525926"/>
              <a:gd name="connsiteX2" fmla="*/ 207546 w 207546"/>
              <a:gd name="connsiteY2" fmla="*/ 2525926 h 2525926"/>
              <a:gd name="connsiteX3" fmla="*/ 0 w 207546"/>
              <a:gd name="connsiteY3" fmla="*/ 2525926 h 2525926"/>
              <a:gd name="connsiteX4" fmla="*/ 0 w 207546"/>
              <a:gd name="connsiteY4" fmla="*/ 103773 h 2525926"/>
              <a:gd name="connsiteX5" fmla="*/ 103773 w 207546"/>
              <a:gd name="connsiteY5" fmla="*/ 0 h 2525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546" h="2525926">
                <a:moveTo>
                  <a:pt x="103773" y="0"/>
                </a:moveTo>
                <a:cubicBezTo>
                  <a:pt x="161087" y="0"/>
                  <a:pt x="207546" y="46459"/>
                  <a:pt x="207546" y="103773"/>
                </a:cubicBezTo>
                <a:lnTo>
                  <a:pt x="207546" y="2525926"/>
                </a:lnTo>
                <a:lnTo>
                  <a:pt x="0" y="2525926"/>
                </a:lnTo>
                <a:lnTo>
                  <a:pt x="0" y="103773"/>
                </a:lnTo>
                <a:cubicBezTo>
                  <a:pt x="0" y="46459"/>
                  <a:pt x="46459" y="0"/>
                  <a:pt x="103773" y="0"/>
                </a:cubicBezTo>
                <a:close/>
              </a:path>
            </a:pathLst>
          </a:custGeom>
          <a:solidFill>
            <a:sysClr val="window" lastClr="FFFFFF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 descr="C:\Users\JimM\AppData\Local\Microsoft\Windows\Temporary Internet Files\Content.IE5\PH91A72D\estadisticas[1].jpg">
            <a:extLst>
              <a:ext uri="{FF2B5EF4-FFF2-40B4-BE49-F238E27FC236}">
                <a16:creationId xmlns:a16="http://schemas.microsoft.com/office/drawing/2014/main" id="{867E36A9-78B4-45D1-A4AE-E8379D05B2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187" y="1976066"/>
            <a:ext cx="4243233" cy="3643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8A84E37-4894-40E4-B2ED-0475C105039E}"/>
              </a:ext>
            </a:extLst>
          </p:cNvPr>
          <p:cNvSpPr/>
          <p:nvPr/>
        </p:nvSpPr>
        <p:spPr>
          <a:xfrm>
            <a:off x="6124852" y="1052736"/>
            <a:ext cx="24800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en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44CDE3-4743-4596-9177-EA50A1B079BD}"/>
              </a:ext>
            </a:extLst>
          </p:cNvPr>
          <p:cNvSpPr txBox="1"/>
          <p:nvPr/>
        </p:nvSpPr>
        <p:spPr>
          <a:xfrm>
            <a:off x="632520" y="1385329"/>
            <a:ext cx="4609959" cy="4729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Start with a Plan, spread experiences out over a 90 day period</a:t>
            </a:r>
          </a:p>
          <a:p>
            <a:pPr marL="342900" indent="-342900"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Set Expectations Up Front (don’t oversell)</a:t>
            </a:r>
          </a:p>
          <a:p>
            <a:pPr marL="342900" indent="-342900"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Build time in for meeting key people</a:t>
            </a:r>
          </a:p>
          <a:p>
            <a:pPr marL="342900" indent="-342900"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Provide a “guide, coach or mentor”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/>
              <a:t>Formal Feedback and revise, if needed</a:t>
            </a:r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04982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ER MENTOR PROGRAMS</a:t>
            </a:r>
          </a:p>
        </p:txBody>
      </p:sp>
      <p:sp>
        <p:nvSpPr>
          <p:cNvPr id="147" name="Freeform 146"/>
          <p:cNvSpPr/>
          <p:nvPr/>
        </p:nvSpPr>
        <p:spPr>
          <a:xfrm flipH="1">
            <a:off x="3282875" y="2621663"/>
            <a:ext cx="43157" cy="15158"/>
          </a:xfrm>
          <a:custGeom>
            <a:avLst/>
            <a:gdLst>
              <a:gd name="connsiteX0" fmla="*/ 14342 w 948184"/>
              <a:gd name="connsiteY0" fmla="*/ 0 h 333033"/>
              <a:gd name="connsiteX1" fmla="*/ 933842 w 948184"/>
              <a:gd name="connsiteY1" fmla="*/ 0 h 333033"/>
              <a:gd name="connsiteX2" fmla="*/ 948184 w 948184"/>
              <a:gd name="connsiteY2" fmla="*/ 71038 h 333033"/>
              <a:gd name="connsiteX3" fmla="*/ 948184 w 948184"/>
              <a:gd name="connsiteY3" fmla="*/ 86448 h 333033"/>
              <a:gd name="connsiteX4" fmla="*/ 701599 w 948184"/>
              <a:gd name="connsiteY4" fmla="*/ 333033 h 333033"/>
              <a:gd name="connsiteX5" fmla="*/ 246585 w 948184"/>
              <a:gd name="connsiteY5" fmla="*/ 333033 h 333033"/>
              <a:gd name="connsiteX6" fmla="*/ 0 w 948184"/>
              <a:gd name="connsiteY6" fmla="*/ 86448 h 333033"/>
              <a:gd name="connsiteX7" fmla="*/ 0 w 948184"/>
              <a:gd name="connsiteY7" fmla="*/ 71038 h 333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8184" h="333033">
                <a:moveTo>
                  <a:pt x="14342" y="0"/>
                </a:moveTo>
                <a:lnTo>
                  <a:pt x="933842" y="0"/>
                </a:lnTo>
                <a:lnTo>
                  <a:pt x="948184" y="71038"/>
                </a:lnTo>
                <a:lnTo>
                  <a:pt x="948184" y="86448"/>
                </a:lnTo>
                <a:cubicBezTo>
                  <a:pt x="948184" y="222633"/>
                  <a:pt x="837784" y="333033"/>
                  <a:pt x="701599" y="333033"/>
                </a:cubicBezTo>
                <a:lnTo>
                  <a:pt x="246585" y="333033"/>
                </a:lnTo>
                <a:cubicBezTo>
                  <a:pt x="110400" y="333033"/>
                  <a:pt x="0" y="222633"/>
                  <a:pt x="0" y="86448"/>
                </a:cubicBezTo>
                <a:lnTo>
                  <a:pt x="0" y="71038"/>
                </a:lnTo>
                <a:close/>
              </a:path>
            </a:pathLst>
          </a:cu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Freeform 147"/>
          <p:cNvSpPr>
            <a:spLocks/>
          </p:cNvSpPr>
          <p:nvPr/>
        </p:nvSpPr>
        <p:spPr bwMode="auto">
          <a:xfrm flipH="1">
            <a:off x="3308436" y="2438066"/>
            <a:ext cx="9446" cy="114968"/>
          </a:xfrm>
          <a:custGeom>
            <a:avLst/>
            <a:gdLst>
              <a:gd name="connsiteX0" fmla="*/ 103773 w 207546"/>
              <a:gd name="connsiteY0" fmla="*/ 0 h 2525926"/>
              <a:gd name="connsiteX1" fmla="*/ 207546 w 207546"/>
              <a:gd name="connsiteY1" fmla="*/ 103773 h 2525926"/>
              <a:gd name="connsiteX2" fmla="*/ 207546 w 207546"/>
              <a:gd name="connsiteY2" fmla="*/ 2525926 h 2525926"/>
              <a:gd name="connsiteX3" fmla="*/ 0 w 207546"/>
              <a:gd name="connsiteY3" fmla="*/ 2525926 h 2525926"/>
              <a:gd name="connsiteX4" fmla="*/ 0 w 207546"/>
              <a:gd name="connsiteY4" fmla="*/ 103773 h 2525926"/>
              <a:gd name="connsiteX5" fmla="*/ 103773 w 207546"/>
              <a:gd name="connsiteY5" fmla="*/ 0 h 2525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546" h="2525926">
                <a:moveTo>
                  <a:pt x="103773" y="0"/>
                </a:moveTo>
                <a:cubicBezTo>
                  <a:pt x="161087" y="0"/>
                  <a:pt x="207546" y="46459"/>
                  <a:pt x="207546" y="103773"/>
                </a:cubicBezTo>
                <a:lnTo>
                  <a:pt x="207546" y="2525926"/>
                </a:lnTo>
                <a:lnTo>
                  <a:pt x="0" y="2525926"/>
                </a:lnTo>
                <a:lnTo>
                  <a:pt x="0" y="103773"/>
                </a:lnTo>
                <a:cubicBezTo>
                  <a:pt x="0" y="46459"/>
                  <a:pt x="46459" y="0"/>
                  <a:pt x="103773" y="0"/>
                </a:cubicBezTo>
                <a:close/>
              </a:path>
            </a:pathLst>
          </a:custGeom>
          <a:solidFill>
            <a:sysClr val="window" lastClr="FFFFFF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DCD50F1-9EFD-4533-B8F9-C75E5F9C9EC5}"/>
              </a:ext>
            </a:extLst>
          </p:cNvPr>
          <p:cNvSpPr txBox="1">
            <a:spLocks/>
          </p:cNvSpPr>
          <p:nvPr/>
        </p:nvSpPr>
        <p:spPr>
          <a:xfrm>
            <a:off x="484981" y="1450639"/>
            <a:ext cx="5869240" cy="48502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“In order to be a mentor, you should be able to give direction, be positive, and be mentally prepared to be a mentor. No jealously, gossip and not showing respect can be a part of the training.”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“Think about these things:</a:t>
            </a:r>
          </a:p>
          <a:p>
            <a:pPr marR="0" lvl="1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What do you do</a:t>
            </a:r>
          </a:p>
          <a:p>
            <a:pPr marR="0" lvl="1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What do you stand for</a:t>
            </a:r>
          </a:p>
          <a:p>
            <a:pPr marR="0" lvl="1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Why do you do it</a:t>
            </a:r>
          </a:p>
          <a:p>
            <a:pPr marR="0" lvl="1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In training you have to make sure that you have the self-confidence that is needed.”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“Love what you do until you can actually do what you love!”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					-Daphne Jenkins, CN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					Leader of Peer Mentor Program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26364D8-03D9-42FE-B2C0-7228EF2E79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5168" y="1450639"/>
            <a:ext cx="3159897" cy="4213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62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POWER OF STAY INTERVIEW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3899" y="1086852"/>
            <a:ext cx="7560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/>
          </a:p>
          <a:p>
            <a:endParaRPr lang="en-US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FEB9CA-8BE9-4AEE-B54A-9651CCDC1E2D}"/>
              </a:ext>
            </a:extLst>
          </p:cNvPr>
          <p:cNvSpPr txBox="1"/>
          <p:nvPr/>
        </p:nvSpPr>
        <p:spPr>
          <a:xfrm>
            <a:off x="683899" y="25537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340826-8844-4274-847F-C6BB634CF71C}"/>
              </a:ext>
            </a:extLst>
          </p:cNvPr>
          <p:cNvSpPr txBox="1"/>
          <p:nvPr/>
        </p:nvSpPr>
        <p:spPr>
          <a:xfrm>
            <a:off x="484981" y="897538"/>
            <a:ext cx="8936038" cy="5062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3200" dirty="0">
                <a:solidFill>
                  <a:srgbClr val="2C3C43"/>
                </a:solidFill>
                <a:latin typeface="Caxton Std Book" pitchFamily="18" charset="0"/>
              </a:rPr>
              <a:t>The Power of Stay Interviews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2C3C43"/>
                </a:solidFill>
                <a:latin typeface="Caxton Std Book" pitchFamily="18" charset="0"/>
                <a:hlinkClick r:id="rId3"/>
              </a:rPr>
              <a:t>www.C-SuiteAnalytics.com</a:t>
            </a:r>
            <a:endParaRPr lang="en-US" b="1" dirty="0">
              <a:solidFill>
                <a:srgbClr val="2C3C43"/>
              </a:solidFill>
              <a:latin typeface="Caxton Std Book" pitchFamily="18" charset="0"/>
            </a:endParaRP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srgbClr val="2C3C43"/>
              </a:solidFill>
              <a:latin typeface="Caxton Std Book" pitchFamily="18" charset="0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2600" dirty="0">
                <a:solidFill>
                  <a:srgbClr val="2C3C43"/>
                </a:solidFill>
                <a:latin typeface="Caxton Std Book" pitchFamily="18" charset="0"/>
              </a:rPr>
              <a:t>A Stay Interview is a structured discussion a leader conducts with each individual employee to learn the specific actions he or she must take to strengthen that employee’s engagement and retention in the organization.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2C3C43"/>
              </a:solidFill>
              <a:latin typeface="Caxton Std Book" pitchFamily="18" charset="0"/>
            </a:endParaRPr>
          </a:p>
          <a:p>
            <a:pPr defTabSz="457200" fontAlgn="auto">
              <a:spcBef>
                <a:spcPts val="600"/>
              </a:spcBef>
              <a:spcAft>
                <a:spcPts val="600"/>
              </a:spcAft>
            </a:pPr>
            <a:r>
              <a:rPr lang="en-US" sz="2600" dirty="0">
                <a:solidFill>
                  <a:srgbClr val="2C3C43"/>
                </a:solidFill>
                <a:latin typeface="Caxton Std Book" pitchFamily="18" charset="0"/>
              </a:rPr>
              <a:t>Why Stay Interviews?</a:t>
            </a:r>
          </a:p>
          <a:p>
            <a:pPr marL="342900" indent="-342900" defTabSz="457200" fontAlgn="auto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2C3C43"/>
                </a:solidFill>
                <a:latin typeface="Caxton Std Book" pitchFamily="18" charset="0"/>
              </a:rPr>
              <a:t>Information that can be used </a:t>
            </a:r>
            <a:r>
              <a:rPr lang="en-US" sz="2600" b="1" i="1" dirty="0">
                <a:solidFill>
                  <a:srgbClr val="2C3C43"/>
                </a:solidFill>
                <a:latin typeface="Caxton Std Book" pitchFamily="18" charset="0"/>
              </a:rPr>
              <a:t>today</a:t>
            </a:r>
          </a:p>
          <a:p>
            <a:pPr marL="342900" indent="-342900" defTabSz="457200" fontAlgn="auto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2C3C43"/>
                </a:solidFill>
                <a:latin typeface="Caxton Std Book" pitchFamily="18" charset="0"/>
              </a:rPr>
              <a:t>Focuses on </a:t>
            </a:r>
            <a:r>
              <a:rPr lang="en-US" sz="2600" b="1" i="1" dirty="0">
                <a:solidFill>
                  <a:srgbClr val="2C3C43"/>
                </a:solidFill>
                <a:latin typeface="Caxton Std Book" pitchFamily="18" charset="0"/>
              </a:rPr>
              <a:t>individual employees</a:t>
            </a:r>
            <a:r>
              <a:rPr lang="en-US" sz="2600" dirty="0">
                <a:solidFill>
                  <a:srgbClr val="2C3C43"/>
                </a:solidFill>
                <a:latin typeface="Caxton Std Book" pitchFamily="18" charset="0"/>
              </a:rPr>
              <a:t>,</a:t>
            </a:r>
            <a:r>
              <a:rPr lang="en-US" sz="2600" b="1" i="1" dirty="0">
                <a:solidFill>
                  <a:srgbClr val="2C3C43"/>
                </a:solidFill>
                <a:latin typeface="Caxton Std Book" pitchFamily="18" charset="0"/>
              </a:rPr>
              <a:t> </a:t>
            </a:r>
            <a:r>
              <a:rPr lang="en-US" sz="2600" dirty="0">
                <a:solidFill>
                  <a:srgbClr val="2C3C43"/>
                </a:solidFill>
                <a:latin typeface="Caxton Std Book" pitchFamily="18" charset="0"/>
              </a:rPr>
              <a:t>including top performers</a:t>
            </a:r>
          </a:p>
          <a:p>
            <a:pPr marL="342900" indent="-342900" defTabSz="457200" fontAlgn="auto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2C3C43"/>
                </a:solidFill>
                <a:latin typeface="Caxton Std Book" pitchFamily="18" charset="0"/>
              </a:rPr>
              <a:t>Places </a:t>
            </a:r>
            <a:r>
              <a:rPr lang="en-US" sz="2600" b="1" i="1" dirty="0">
                <a:solidFill>
                  <a:srgbClr val="2C3C43"/>
                </a:solidFill>
                <a:latin typeface="Caxton Std Book" pitchFamily="18" charset="0"/>
              </a:rPr>
              <a:t>immediate supervisors</a:t>
            </a:r>
            <a:r>
              <a:rPr lang="en-US" sz="2600" dirty="0">
                <a:solidFill>
                  <a:srgbClr val="2C3C43"/>
                </a:solidFill>
                <a:latin typeface="Caxton Std Book" pitchFamily="18" charset="0"/>
              </a:rPr>
              <a:t> in the solution seat</a:t>
            </a:r>
          </a:p>
        </p:txBody>
      </p:sp>
    </p:spTree>
    <p:extLst>
      <p:ext uri="{BB962C8B-B14F-4D97-AF65-F5344CB8AC3E}">
        <p14:creationId xmlns:p14="http://schemas.microsoft.com/office/powerpoint/2010/main" val="129055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AMPLE STAY INTERVIEW QUESTION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3899" y="1086852"/>
            <a:ext cx="7560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/>
          </a:p>
          <a:p>
            <a:endParaRPr lang="en-US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FEB9CA-8BE9-4AEE-B54A-9651CCDC1E2D}"/>
              </a:ext>
            </a:extLst>
          </p:cNvPr>
          <p:cNvSpPr txBox="1"/>
          <p:nvPr/>
        </p:nvSpPr>
        <p:spPr>
          <a:xfrm>
            <a:off x="683899" y="25537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01FE03-EB6B-47A4-A6B3-7A3BDCC1AA73}"/>
              </a:ext>
            </a:extLst>
          </p:cNvPr>
          <p:cNvSpPr txBox="1"/>
          <p:nvPr/>
        </p:nvSpPr>
        <p:spPr>
          <a:xfrm>
            <a:off x="471566" y="1168178"/>
            <a:ext cx="8949454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3088" indent="-573088" defTabSz="457200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500" dirty="0">
                <a:solidFill>
                  <a:srgbClr val="2C3C43"/>
                </a:solidFill>
                <a:latin typeface="Caxton Std Book" pitchFamily="18" charset="0"/>
              </a:rPr>
              <a:t>What do you look forward to each day when you commute to work?</a:t>
            </a:r>
          </a:p>
          <a:p>
            <a:pPr marL="573088" indent="-573088" defTabSz="457200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500" dirty="0">
                <a:solidFill>
                  <a:srgbClr val="2C3C43"/>
                </a:solidFill>
                <a:latin typeface="Caxton Std Book" pitchFamily="18" charset="0"/>
              </a:rPr>
              <a:t>What are you learning here?</a:t>
            </a:r>
          </a:p>
          <a:p>
            <a:pPr marL="573088" indent="-573088" defTabSz="457200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500" dirty="0">
                <a:solidFill>
                  <a:srgbClr val="2C3C43"/>
                </a:solidFill>
                <a:latin typeface="Caxton Std Book" pitchFamily="18" charset="0"/>
              </a:rPr>
              <a:t>Why do you stay here?</a:t>
            </a:r>
          </a:p>
          <a:p>
            <a:pPr marL="573088" indent="-573088" defTabSz="457200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500" dirty="0">
                <a:solidFill>
                  <a:srgbClr val="2C3C43"/>
                </a:solidFill>
                <a:latin typeface="Caxton Std Book" pitchFamily="18" charset="0"/>
              </a:rPr>
              <a:t>What phrase describes your average work day?</a:t>
            </a:r>
          </a:p>
          <a:p>
            <a:pPr marL="573088" indent="-573088" defTabSz="457200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500" dirty="0">
                <a:solidFill>
                  <a:srgbClr val="2C3C43"/>
                </a:solidFill>
                <a:latin typeface="Caxton Std Book" pitchFamily="18" charset="0"/>
              </a:rPr>
              <a:t>When is the last time you thought about leaving us? What prompted it?</a:t>
            </a:r>
          </a:p>
          <a:p>
            <a:pPr marL="573088" indent="-573088" defTabSz="457200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500" dirty="0">
                <a:solidFill>
                  <a:srgbClr val="2C3C43"/>
                </a:solidFill>
                <a:latin typeface="Caxton Std Book" pitchFamily="18" charset="0"/>
              </a:rPr>
              <a:t>What can I do to make your job better for you?</a:t>
            </a:r>
          </a:p>
          <a:p>
            <a:pPr marL="573088" indent="-573088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500" dirty="0">
                <a:solidFill>
                  <a:srgbClr val="2C3C43"/>
                </a:solidFill>
                <a:latin typeface="Caxton Std Book" pitchFamily="18" charset="0"/>
              </a:rPr>
              <a:t>Have you had the opportunity to speak with your supervisor one on one since you started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8FF929-BFD1-4A57-BA30-F83F8F415D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9104" y="5101258"/>
            <a:ext cx="1679210" cy="1774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605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627344" y="260648"/>
            <a:ext cx="8842011" cy="47775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n-US" sz="2000" b="1" dirty="0">
                <a:solidFill>
                  <a:schemeClr val="bg1"/>
                </a:solidFill>
                <a:cs typeface="Arial"/>
              </a:rPr>
              <a:t>LEARNING OBJECTIVES</a:t>
            </a:r>
            <a:endParaRPr lang="en-US" sz="2000" b="1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582298" y="3035457"/>
            <a:ext cx="1822485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lnSpc>
                <a:spcPts val="156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defRPr/>
            </a:pPr>
            <a:r>
              <a:rPr lang="en-US" sz="1400" dirty="0">
                <a:solidFill>
                  <a:schemeClr val="bg1"/>
                </a:solidFill>
              </a:rPr>
              <a:t>According to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the American Community survey data used by Pew, 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93383" y="3627851"/>
            <a:ext cx="2311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The wired, connected </a:t>
            </a:r>
            <a: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millennials </a:t>
            </a:r>
            <a:b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</a:b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are motivated differently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DB35CB-8A20-41B8-86EF-AB94354AF4E0}"/>
              </a:ext>
            </a:extLst>
          </p:cNvPr>
          <p:cNvSpPr/>
          <p:nvPr/>
        </p:nvSpPr>
        <p:spPr bwMode="auto">
          <a:xfrm>
            <a:off x="2356894" y="3491992"/>
            <a:ext cx="1732010" cy="135859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A028CB8-F9A9-4341-8ECB-2727117A7179}"/>
              </a:ext>
            </a:extLst>
          </p:cNvPr>
          <p:cNvSpPr txBox="1">
            <a:spLocks/>
          </p:cNvSpPr>
          <p:nvPr/>
        </p:nvSpPr>
        <p:spPr>
          <a:xfrm>
            <a:off x="677334" y="1549401"/>
            <a:ext cx="8596668" cy="449196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itchFamily="34" charset="0"/>
              <a:buNone/>
              <a:tabLst>
                <a:tab pos="1082675" algn="l"/>
                <a:tab pos="1616075" algn="l"/>
                <a:tab pos="2149475" algn="l"/>
                <a:tab pos="8077200" algn="r"/>
              </a:tabLst>
              <a:defRPr sz="22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28650" indent="-26670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itchFamily="34" charset="0"/>
              <a:buChar char="■"/>
              <a:tabLst>
                <a:tab pos="1616075" algn="l"/>
                <a:tab pos="2330450" algn="l"/>
                <a:tab pos="8077200" algn="r"/>
              </a:tabLst>
              <a:defRPr sz="1800" b="0">
                <a:solidFill>
                  <a:schemeClr val="tx2"/>
                </a:solidFill>
                <a:latin typeface="+mn-lt"/>
              </a:defRPr>
            </a:lvl2pPr>
            <a:lvl3pPr marL="1258888" indent="-176213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Tx/>
              <a:buBlip>
                <a:blip r:embed="rId3"/>
              </a:buBlip>
              <a:tabLst>
                <a:tab pos="1082675" algn="l"/>
                <a:tab pos="2149475" algn="l"/>
                <a:tab pos="8077200" algn="r"/>
              </a:tabLst>
              <a:defRPr sz="1400">
                <a:solidFill>
                  <a:schemeClr val="tx1"/>
                </a:solidFill>
                <a:latin typeface="+mn-lt"/>
              </a:defRPr>
            </a:lvl3pPr>
            <a:lvl4pPr marL="1787525" indent="-179388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Tx/>
              <a:buBlip>
                <a:blip r:embed="rId3"/>
              </a:buBlip>
              <a:tabLst>
                <a:tab pos="1082675" algn="l"/>
                <a:tab pos="1616075" algn="l"/>
                <a:tab pos="2149475" algn="l"/>
                <a:tab pos="8077200" algn="r"/>
              </a:tabLst>
              <a:defRPr sz="1400">
                <a:solidFill>
                  <a:schemeClr val="tx1"/>
                </a:solidFill>
                <a:latin typeface="+mn-lt"/>
              </a:defRPr>
            </a:lvl4pPr>
            <a:lvl5pPr marL="2420938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1082675" algn="l"/>
                <a:tab pos="1616075" algn="l"/>
                <a:tab pos="2149475" algn="l"/>
                <a:tab pos="8077200" algn="r"/>
              </a:tabLst>
              <a:defRPr sz="1600">
                <a:solidFill>
                  <a:schemeClr val="tx2"/>
                </a:solidFill>
                <a:latin typeface="+mn-lt"/>
              </a:defRPr>
            </a:lvl5pPr>
            <a:lvl6pPr marL="2878138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1082675" algn="l"/>
                <a:tab pos="1616075" algn="l"/>
                <a:tab pos="2149475" algn="l"/>
                <a:tab pos="8077200" algn="r"/>
              </a:tabLst>
              <a:defRPr sz="1600">
                <a:solidFill>
                  <a:schemeClr val="tx2"/>
                </a:solidFill>
                <a:latin typeface="+mn-lt"/>
              </a:defRPr>
            </a:lvl6pPr>
            <a:lvl7pPr marL="3335338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1082675" algn="l"/>
                <a:tab pos="1616075" algn="l"/>
                <a:tab pos="2149475" algn="l"/>
                <a:tab pos="8077200" algn="r"/>
              </a:tabLst>
              <a:defRPr sz="1600">
                <a:solidFill>
                  <a:schemeClr val="tx2"/>
                </a:solidFill>
                <a:latin typeface="+mn-lt"/>
              </a:defRPr>
            </a:lvl7pPr>
            <a:lvl8pPr marL="3792538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1082675" algn="l"/>
                <a:tab pos="1616075" algn="l"/>
                <a:tab pos="2149475" algn="l"/>
                <a:tab pos="8077200" algn="r"/>
              </a:tabLst>
              <a:defRPr sz="1600">
                <a:solidFill>
                  <a:schemeClr val="tx2"/>
                </a:solidFill>
                <a:latin typeface="+mn-lt"/>
              </a:defRPr>
            </a:lvl8pPr>
            <a:lvl9pPr marL="4249738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1082675" algn="l"/>
                <a:tab pos="1616075" algn="l"/>
                <a:tab pos="2149475" algn="l"/>
                <a:tab pos="8077200" algn="r"/>
              </a:tabLst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marL="457200" indent="-4572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800" b="0" kern="0" dirty="0"/>
              <a:t>Learn about our evolving industry and demographic trends impacting the workplace. 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800" b="0" kern="0" dirty="0"/>
              <a:t>Learn about tactics to drive better outcomes related to:</a:t>
            </a:r>
          </a:p>
          <a:p>
            <a:pPr marL="914400" lvl="1" indent="576263">
              <a:buFont typeface="Arial" panose="020B0604020202020204" pitchFamily="34" charset="0"/>
              <a:buChar char="&gt;"/>
            </a:pPr>
            <a:r>
              <a:rPr lang="en-US" sz="2400" kern="0" dirty="0"/>
              <a:t>Recruitment: Finding the Right People</a:t>
            </a:r>
          </a:p>
          <a:p>
            <a:pPr marL="914400" lvl="1" indent="576263">
              <a:buFont typeface="Arial" panose="020B0604020202020204" pitchFamily="34" charset="0"/>
              <a:buChar char="&gt;"/>
            </a:pPr>
            <a:r>
              <a:rPr lang="en-US" sz="2400" kern="0" dirty="0"/>
              <a:t>Retention:  Retaining the Right People</a:t>
            </a:r>
          </a:p>
          <a:p>
            <a:pPr marL="914400" lvl="1" indent="576263">
              <a:buFont typeface="Arial" panose="020B0604020202020204" pitchFamily="34" charset="0"/>
              <a:buChar char="&gt;"/>
            </a:pPr>
            <a:r>
              <a:rPr lang="en-US" sz="2400" kern="0" dirty="0"/>
              <a:t>Engagement: Supporting the Right Culture</a:t>
            </a:r>
          </a:p>
        </p:txBody>
      </p:sp>
    </p:spTree>
    <p:extLst>
      <p:ext uri="{BB962C8B-B14F-4D97-AF65-F5344CB8AC3E}">
        <p14:creationId xmlns:p14="http://schemas.microsoft.com/office/powerpoint/2010/main" val="404400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UPERVISOR’S IMPACT ON EMPLOYEE ENGAGEMEN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3899" y="1086852"/>
            <a:ext cx="7560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/>
          </a:p>
          <a:p>
            <a:endParaRPr lang="en-US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FEB9CA-8BE9-4AEE-B54A-9651CCDC1E2D}"/>
              </a:ext>
            </a:extLst>
          </p:cNvPr>
          <p:cNvSpPr txBox="1"/>
          <p:nvPr/>
        </p:nvSpPr>
        <p:spPr>
          <a:xfrm>
            <a:off x="683899" y="25537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95EE70-3A24-426A-978B-DA9839706BB5}"/>
              </a:ext>
            </a:extLst>
          </p:cNvPr>
          <p:cNvSpPr txBox="1"/>
          <p:nvPr/>
        </p:nvSpPr>
        <p:spPr>
          <a:xfrm>
            <a:off x="441890" y="1222560"/>
            <a:ext cx="897912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2C3C43"/>
                </a:solidFill>
                <a:latin typeface="Caxton Std Book" pitchFamily="18" charset="0"/>
              </a:rPr>
              <a:t>“If you have a turnover problem, look first to your managers”…</a:t>
            </a:r>
            <a:r>
              <a:rPr lang="en-US" sz="2400" i="1" dirty="0">
                <a:solidFill>
                  <a:srgbClr val="2C3C43"/>
                </a:solidFill>
                <a:latin typeface="Caxton Std Book" pitchFamily="18" charset="0"/>
              </a:rPr>
              <a:t>Gallup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2C3C43"/>
              </a:solidFill>
              <a:latin typeface="Caxton Std Book" pitchFamily="18" charset="0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2C3C43"/>
                </a:solidFill>
                <a:latin typeface="Caxton Std Book" pitchFamily="18" charset="0"/>
              </a:rPr>
              <a:t>Employees stay for managers first and co-workers second…</a:t>
            </a:r>
            <a:r>
              <a:rPr lang="en-US" sz="2400" i="1" dirty="0">
                <a:solidFill>
                  <a:srgbClr val="2C3C43"/>
                </a:solidFill>
                <a:latin typeface="Caxton Std Book" pitchFamily="18" charset="0"/>
              </a:rPr>
              <a:t>salary.com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2C3C43"/>
              </a:solidFill>
              <a:latin typeface="Caxton Std Book" pitchFamily="18" charset="0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2C3C43"/>
                </a:solidFill>
                <a:latin typeface="Caxton Std Book" pitchFamily="18" charset="0"/>
              </a:rPr>
              <a:t>Employees’ levels of engagement are higher when their supervisors had higher levels of engagement…</a:t>
            </a:r>
            <a:r>
              <a:rPr lang="en-US" sz="2400" i="1" dirty="0">
                <a:solidFill>
                  <a:srgbClr val="2C3C43"/>
                </a:solidFill>
                <a:latin typeface="Caxton Std Book" pitchFamily="18" charset="0"/>
              </a:rPr>
              <a:t>DDI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2C3C43"/>
              </a:solidFill>
              <a:latin typeface="Caxton Std Book" pitchFamily="18" charset="0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2C3C43"/>
                </a:solidFill>
                <a:latin typeface="Caxton Std Book" pitchFamily="18" charset="0"/>
              </a:rPr>
              <a:t>“When employees stay, it is because of their immediate managers”…</a:t>
            </a:r>
            <a:r>
              <a:rPr lang="en-US" sz="2400" i="1" dirty="0">
                <a:solidFill>
                  <a:srgbClr val="2C3C43"/>
                </a:solidFill>
                <a:latin typeface="Caxton Std Book" pitchFamily="18" charset="0"/>
              </a:rPr>
              <a:t>National Education Association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2C3C43"/>
              </a:solidFill>
              <a:latin typeface="Caxton Std Book" pitchFamily="18" charset="0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2C3C43"/>
                </a:solidFill>
                <a:latin typeface="Caxton Std Book" pitchFamily="18" charset="0"/>
              </a:rPr>
              <a:t>Employees who stay primarily for their supervisors stay longer, perform better, and are more satisfied with their pay…</a:t>
            </a:r>
            <a:r>
              <a:rPr lang="en-US" sz="2400" i="1" dirty="0">
                <a:solidFill>
                  <a:srgbClr val="2C3C43"/>
                </a:solidFill>
                <a:latin typeface="Caxton Std Book" pitchFamily="18" charset="0"/>
              </a:rPr>
              <a:t>TalentKeepers</a:t>
            </a:r>
          </a:p>
        </p:txBody>
      </p:sp>
    </p:spTree>
    <p:extLst>
      <p:ext uri="{BB962C8B-B14F-4D97-AF65-F5344CB8AC3E}">
        <p14:creationId xmlns:p14="http://schemas.microsoft.com/office/powerpoint/2010/main" val="3412000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UPERVISORS VS. PROGRAM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3899" y="1086852"/>
            <a:ext cx="7560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/>
          </a:p>
          <a:p>
            <a:endParaRPr lang="en-US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FEB9CA-8BE9-4AEE-B54A-9651CCDC1E2D}"/>
              </a:ext>
            </a:extLst>
          </p:cNvPr>
          <p:cNvSpPr txBox="1"/>
          <p:nvPr/>
        </p:nvSpPr>
        <p:spPr>
          <a:xfrm>
            <a:off x="683899" y="25537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95B28D-7E9B-42FA-BB0D-89BE457FEE06}"/>
              </a:ext>
            </a:extLst>
          </p:cNvPr>
          <p:cNvSpPr txBox="1"/>
          <p:nvPr/>
        </p:nvSpPr>
        <p:spPr>
          <a:xfrm>
            <a:off x="471565" y="1636857"/>
            <a:ext cx="8544786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4000" b="1" dirty="0">
                <a:solidFill>
                  <a:srgbClr val="2C3C43"/>
                </a:solidFill>
                <a:latin typeface="Caxton Std Book" pitchFamily="18" charset="0"/>
              </a:rPr>
              <a:t>Good Programs + Good Supervisors =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3600" i="1" dirty="0">
                <a:solidFill>
                  <a:srgbClr val="2C3C43"/>
                </a:solidFill>
                <a:latin typeface="Caxton Std Book" pitchFamily="18" charset="0"/>
              </a:rPr>
              <a:t>Retention &amp; Engagement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3600" dirty="0">
              <a:solidFill>
                <a:srgbClr val="2C3C43"/>
              </a:solidFill>
              <a:latin typeface="Caxton Std Book" pitchFamily="18" charset="0"/>
            </a:endParaRP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4000" b="1" dirty="0">
                <a:solidFill>
                  <a:srgbClr val="2C3C43"/>
                </a:solidFill>
                <a:latin typeface="Caxton Std Book" pitchFamily="18" charset="0"/>
              </a:rPr>
              <a:t>Good Programs + Poor Supervisors =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3600" i="1" dirty="0">
                <a:solidFill>
                  <a:srgbClr val="2C3C43"/>
                </a:solidFill>
                <a:latin typeface="Caxton Std Book" pitchFamily="18" charset="0"/>
              </a:rPr>
              <a:t>Turnover &amp; Disengagement</a:t>
            </a:r>
          </a:p>
        </p:txBody>
      </p:sp>
    </p:spTree>
    <p:extLst>
      <p:ext uri="{BB962C8B-B14F-4D97-AF65-F5344CB8AC3E}">
        <p14:creationId xmlns:p14="http://schemas.microsoft.com/office/powerpoint/2010/main" val="3810242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VALUED COMMUNICA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3899" y="1086852"/>
            <a:ext cx="7560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/>
          </a:p>
          <a:p>
            <a:endParaRPr lang="en-US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FEB9CA-8BE9-4AEE-B54A-9651CCDC1E2D}"/>
              </a:ext>
            </a:extLst>
          </p:cNvPr>
          <p:cNvSpPr txBox="1"/>
          <p:nvPr/>
        </p:nvSpPr>
        <p:spPr>
          <a:xfrm>
            <a:off x="683899" y="25537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253CFF-5267-4E70-A11B-B57810361854}"/>
              </a:ext>
            </a:extLst>
          </p:cNvPr>
          <p:cNvSpPr/>
          <p:nvPr/>
        </p:nvSpPr>
        <p:spPr>
          <a:xfrm>
            <a:off x="3096613" y="1340768"/>
            <a:ext cx="3001143" cy="107721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 w="31550" cmpd="sng">
                  <a:gradFill>
                    <a:gsLst>
                      <a:gs pos="25000">
                        <a:srgbClr val="FF0000">
                          <a:shade val="25000"/>
                          <a:satMod val="190000"/>
                        </a:srgbClr>
                      </a:gs>
                      <a:gs pos="80000">
                        <a:srgbClr val="FF0000">
                          <a:tint val="75000"/>
                          <a:satMod val="19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</a:rPr>
              <a:t>Talent / Care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 w="31550" cmpd="sng">
                  <a:gradFill>
                    <a:gsLst>
                      <a:gs pos="25000">
                        <a:srgbClr val="FF0000">
                          <a:shade val="25000"/>
                          <a:satMod val="190000"/>
                        </a:srgbClr>
                      </a:gs>
                      <a:gs pos="80000">
                        <a:srgbClr val="FF0000">
                          <a:tint val="75000"/>
                          <a:satMod val="19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</a:rPr>
              <a:t>Discuss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CE677-EB09-4B8A-B4D9-38EFEBE5D27B}"/>
              </a:ext>
            </a:extLst>
          </p:cNvPr>
          <p:cNvSpPr/>
          <p:nvPr/>
        </p:nvSpPr>
        <p:spPr>
          <a:xfrm>
            <a:off x="6266173" y="3353591"/>
            <a:ext cx="2682145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all" spc="0" normalizeH="0" baseline="0" noProof="0" dirty="0">
                <a:ln w="9000" cmpd="sng">
                  <a:solidFill>
                    <a:srgbClr val="9392B6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9392B6">
                        <a:shade val="20000"/>
                        <a:satMod val="245000"/>
                      </a:srgbClr>
                    </a:gs>
                    <a:gs pos="43000">
                      <a:srgbClr val="9392B6">
                        <a:satMod val="255000"/>
                      </a:srgbClr>
                    </a:gs>
                    <a:gs pos="48000">
                      <a:srgbClr val="9392B6">
                        <a:shade val="85000"/>
                        <a:satMod val="255000"/>
                      </a:srgbClr>
                    </a:gs>
                    <a:gs pos="100000">
                      <a:srgbClr val="9392B6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12700" stA="28000" endPos="45000" dist="1000" dir="5400000" sy="-100000" algn="bl" rotWithShape="0"/>
                </a:effectLst>
                <a:uLnTx/>
                <a:uFillTx/>
              </a:rPr>
              <a:t>Performance</a:t>
            </a:r>
            <a:r>
              <a:rPr kumimoji="0" lang="en-US" sz="2400" b="1" i="0" u="none" strike="noStrike" kern="0" cap="all" spc="0" normalizeH="0" baseline="0" noProof="0" dirty="0">
                <a:ln w="9000" cmpd="sng">
                  <a:solidFill>
                    <a:srgbClr val="9392B6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9392B6">
                        <a:shade val="20000"/>
                        <a:satMod val="245000"/>
                      </a:srgbClr>
                    </a:gs>
                    <a:gs pos="43000">
                      <a:srgbClr val="9392B6">
                        <a:satMod val="255000"/>
                      </a:srgbClr>
                    </a:gs>
                    <a:gs pos="48000">
                      <a:srgbClr val="9392B6">
                        <a:shade val="85000"/>
                        <a:satMod val="255000"/>
                      </a:srgbClr>
                    </a:gs>
                    <a:gs pos="100000">
                      <a:srgbClr val="9392B6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all" spc="0" normalizeH="0" baseline="0" noProof="0" dirty="0">
                <a:ln w="9000" cmpd="sng">
                  <a:solidFill>
                    <a:srgbClr val="9392B6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9392B6">
                        <a:shade val="20000"/>
                        <a:satMod val="245000"/>
                      </a:srgbClr>
                    </a:gs>
                    <a:gs pos="43000">
                      <a:srgbClr val="9392B6">
                        <a:satMod val="255000"/>
                      </a:srgbClr>
                    </a:gs>
                    <a:gs pos="48000">
                      <a:srgbClr val="9392B6">
                        <a:shade val="85000"/>
                        <a:satMod val="255000"/>
                      </a:srgbClr>
                    </a:gs>
                    <a:gs pos="100000">
                      <a:srgbClr val="9392B6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</a:rPr>
              <a:t>Updat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00A72F-00EC-462A-89D6-2D3B50A3AC5E}"/>
              </a:ext>
            </a:extLst>
          </p:cNvPr>
          <p:cNvSpPr/>
          <p:nvPr/>
        </p:nvSpPr>
        <p:spPr>
          <a:xfrm>
            <a:off x="2663727" y="5171972"/>
            <a:ext cx="4032448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uLnTx/>
                <a:uFillTx/>
              </a:rPr>
              <a:t>Mentor    Mente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B7A252-1CBE-422C-B2CE-21E457DDC94E}"/>
              </a:ext>
            </a:extLst>
          </p:cNvPr>
          <p:cNvSpPr/>
          <p:nvPr/>
        </p:nvSpPr>
        <p:spPr>
          <a:xfrm>
            <a:off x="827627" y="3026993"/>
            <a:ext cx="2358338" cy="95410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50" normalizeH="0" baseline="0" noProof="0" dirty="0">
                <a:ln w="11430"/>
                <a:gradFill>
                  <a:gsLst>
                    <a:gs pos="25000">
                      <a:srgbClr val="55547D">
                        <a:satMod val="155000"/>
                      </a:srgbClr>
                    </a:gs>
                    <a:gs pos="100000">
                      <a:srgbClr val="55547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</a:rPr>
              <a:t>Operationa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50" normalizeH="0" baseline="0" noProof="0" dirty="0">
                <a:ln w="11430"/>
                <a:gradFill>
                  <a:gsLst>
                    <a:gs pos="25000">
                      <a:srgbClr val="55547D">
                        <a:satMod val="155000"/>
                      </a:srgbClr>
                    </a:gs>
                    <a:gs pos="100000">
                      <a:srgbClr val="55547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</a:rPr>
              <a:t>Input</a:t>
            </a:r>
          </a:p>
        </p:txBody>
      </p:sp>
      <p:pic>
        <p:nvPicPr>
          <p:cNvPr id="11" name="Picture 2" descr="C:\Users\JimM\AppData\Local\Microsoft\Windows\Temporary Internet Files\Content.IE5\UUOYYTZE\sign08[1].gif">
            <a:extLst>
              <a:ext uri="{FF2B5EF4-FFF2-40B4-BE49-F238E27FC236}">
                <a16:creationId xmlns:a16="http://schemas.microsoft.com/office/drawing/2014/main" id="{06702F8A-6EA1-4208-8507-AFCD1E8A9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5056" y="2572001"/>
            <a:ext cx="2304256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eft-Right Arrow 7">
            <a:extLst>
              <a:ext uri="{FF2B5EF4-FFF2-40B4-BE49-F238E27FC236}">
                <a16:creationId xmlns:a16="http://schemas.microsoft.com/office/drawing/2014/main" id="{455CCB48-2452-4BF8-9108-EEF4BF80A51E}"/>
              </a:ext>
            </a:extLst>
          </p:cNvPr>
          <p:cNvSpPr/>
          <p:nvPr/>
        </p:nvSpPr>
        <p:spPr bwMode="auto">
          <a:xfrm>
            <a:off x="6097756" y="5120192"/>
            <a:ext cx="336835" cy="123815"/>
          </a:xfrm>
          <a:prstGeom prst="leftRightArrow">
            <a:avLst/>
          </a:prstGeom>
          <a:solidFill>
            <a:srgbClr val="FF00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4370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  <p:bldP spid="1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ORDS MATTER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3899" y="1086852"/>
            <a:ext cx="7560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/>
          </a:p>
          <a:p>
            <a:endParaRPr lang="en-US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FEB9CA-8BE9-4AEE-B54A-9651CCDC1E2D}"/>
              </a:ext>
            </a:extLst>
          </p:cNvPr>
          <p:cNvSpPr txBox="1"/>
          <p:nvPr/>
        </p:nvSpPr>
        <p:spPr>
          <a:xfrm>
            <a:off x="683899" y="25537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6" name="Content Placeholder 4" descr="&lt;strong&gt;Words&lt;/strong&gt; Picture | Free Photograph | Photos Public Domain">
            <a:extLst>
              <a:ext uri="{FF2B5EF4-FFF2-40B4-BE49-F238E27FC236}">
                <a16:creationId xmlns:a16="http://schemas.microsoft.com/office/drawing/2014/main" id="{EABD7251-E024-47FB-B382-6A4323CD5D4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760" y="1866760"/>
            <a:ext cx="4183062" cy="2788708"/>
          </a:xfrm>
          <a:prstGeom prst="rect">
            <a:avLst/>
          </a:prstGeom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5515163-11D5-4F45-8B10-4DA77311249D}"/>
              </a:ext>
            </a:extLst>
          </p:cNvPr>
          <p:cNvSpPr txBox="1">
            <a:spLocks/>
          </p:cNvSpPr>
          <p:nvPr/>
        </p:nvSpPr>
        <p:spPr>
          <a:xfrm>
            <a:off x="5089970" y="1614282"/>
            <a:ext cx="4184034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We or Us versus The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Manager versus Leader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Employee versus Team Member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Common messag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Focus on cultur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684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MBRACE TECHNOLOG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3899" y="1086852"/>
            <a:ext cx="7560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/>
          </a:p>
          <a:p>
            <a:endParaRPr lang="en-US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FEB9CA-8BE9-4AEE-B54A-9651CCDC1E2D}"/>
              </a:ext>
            </a:extLst>
          </p:cNvPr>
          <p:cNvSpPr txBox="1"/>
          <p:nvPr/>
        </p:nvSpPr>
        <p:spPr>
          <a:xfrm>
            <a:off x="683899" y="25537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79BA91E-CE72-43C6-8624-A5A9C6DBFB24}"/>
              </a:ext>
            </a:extLst>
          </p:cNvPr>
          <p:cNvSpPr txBox="1">
            <a:spLocks/>
          </p:cNvSpPr>
          <p:nvPr/>
        </p:nvSpPr>
        <p:spPr>
          <a:xfrm>
            <a:off x="488166" y="1507929"/>
            <a:ext cx="3220277" cy="42956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On-Line Learning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Employee Portal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Mobile Apps 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ayroll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Benefit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On-Line application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ocial Media</a:t>
            </a:r>
          </a:p>
        </p:txBody>
      </p:sp>
      <p:pic>
        <p:nvPicPr>
          <p:cNvPr id="7" name="Content Placeholder 4">
            <a:extLst>
              <a:ext uri="{FF2B5EF4-FFF2-40B4-BE49-F238E27FC236}">
                <a16:creationId xmlns:a16="http://schemas.microsoft.com/office/drawing/2014/main" id="{CE72E46F-26AC-41D8-956D-6390E8C629DC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440832" y="1121468"/>
            <a:ext cx="3744418" cy="272322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FF5FB2D-526F-4E60-AF52-7156C40BAF7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5902827" y="3844696"/>
            <a:ext cx="3744418" cy="2339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36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EANINGFUL DIRECTION AND EXPERIE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FEB9CA-8BE9-4AEE-B54A-9651CCDC1E2D}"/>
              </a:ext>
            </a:extLst>
          </p:cNvPr>
          <p:cNvSpPr txBox="1"/>
          <p:nvPr/>
        </p:nvSpPr>
        <p:spPr>
          <a:xfrm>
            <a:off x="683899" y="25537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CF3A9C-C83B-45A9-BD53-11D2EB7AB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669" y="1154642"/>
            <a:ext cx="9424890" cy="4548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64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83899" y="1086852"/>
            <a:ext cx="7560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/>
          </a:p>
          <a:p>
            <a:endParaRPr lang="en-US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FEB9CA-8BE9-4AEE-B54A-9651CCDC1E2D}"/>
              </a:ext>
            </a:extLst>
          </p:cNvPr>
          <p:cNvSpPr txBox="1"/>
          <p:nvPr/>
        </p:nvSpPr>
        <p:spPr>
          <a:xfrm>
            <a:off x="683899" y="25537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E306982-87B0-4C37-B6E3-3B2541A8C6B5}"/>
              </a:ext>
            </a:extLst>
          </p:cNvPr>
          <p:cNvSpPr txBox="1">
            <a:spLocks/>
          </p:cNvSpPr>
          <p:nvPr/>
        </p:nvSpPr>
        <p:spPr>
          <a:xfrm>
            <a:off x="695866" y="1640103"/>
            <a:ext cx="7632699" cy="11315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sz="3000" b="1" spc="300" dirty="0">
                <a:solidFill>
                  <a:srgbClr val="404450"/>
                </a:solidFill>
                <a:ea typeface="Arial" charset="0"/>
                <a:cs typeface="Arial" charset="0"/>
              </a:rPr>
              <a:t>Thank You!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39B70C6-9485-42D9-BCE1-CD28D95390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0757" y="2481981"/>
            <a:ext cx="3847983" cy="2871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547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5582298" y="3035457"/>
            <a:ext cx="1822485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lnSpc>
                <a:spcPts val="156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defRPr/>
            </a:pPr>
            <a:r>
              <a:rPr lang="en-US" sz="1400" dirty="0">
                <a:solidFill>
                  <a:schemeClr val="bg1"/>
                </a:solidFill>
              </a:rPr>
              <a:t>According to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the American Community survey data used by Pew, 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93383" y="3627851"/>
            <a:ext cx="2311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The wired, connected </a:t>
            </a:r>
            <a: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millennials </a:t>
            </a:r>
            <a:b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</a:b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are motivated differently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DB35CB-8A20-41B8-86EF-AB94354AF4E0}"/>
              </a:ext>
            </a:extLst>
          </p:cNvPr>
          <p:cNvSpPr/>
          <p:nvPr/>
        </p:nvSpPr>
        <p:spPr bwMode="auto">
          <a:xfrm>
            <a:off x="2356894" y="3491992"/>
            <a:ext cx="1732010" cy="135859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D277A1-7FEF-432C-B172-7327F23AF0DF}"/>
              </a:ext>
            </a:extLst>
          </p:cNvPr>
          <p:cNvSpPr txBox="1"/>
          <p:nvPr/>
        </p:nvSpPr>
        <p:spPr>
          <a:xfrm>
            <a:off x="903286" y="2068644"/>
            <a:ext cx="865822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tx2"/>
                </a:solidFill>
                <a:latin typeface="Caxton Std Book" pitchFamily="18" charset="0"/>
              </a:rPr>
              <a:t>Managing &amp; Developing Others</a:t>
            </a:r>
          </a:p>
          <a:p>
            <a:pPr algn="ctr"/>
            <a:endParaRPr lang="en-US" sz="3200" dirty="0">
              <a:solidFill>
                <a:schemeClr val="tx2"/>
              </a:solidFill>
              <a:latin typeface="Caxton Std Book" pitchFamily="18" charset="0"/>
            </a:endParaRPr>
          </a:p>
          <a:p>
            <a:pPr algn="ctr"/>
            <a:endParaRPr lang="en-US" sz="3200" dirty="0">
              <a:solidFill>
                <a:schemeClr val="tx2"/>
              </a:solidFill>
              <a:latin typeface="Caxton Std Book" pitchFamily="18" charset="0"/>
            </a:endParaRPr>
          </a:p>
          <a:p>
            <a:pPr algn="ctr"/>
            <a:endParaRPr lang="en-US" sz="3200" dirty="0">
              <a:solidFill>
                <a:schemeClr val="tx2"/>
              </a:solidFill>
              <a:latin typeface="Caxton Std Book" pitchFamily="18" charset="0"/>
            </a:endParaRPr>
          </a:p>
          <a:p>
            <a:pPr algn="ctr"/>
            <a:r>
              <a:rPr lang="en-US" sz="4800" b="1" dirty="0">
                <a:solidFill>
                  <a:schemeClr val="tx2"/>
                </a:solidFill>
                <a:latin typeface="Caxton Std Book" pitchFamily="18" charset="0"/>
              </a:rPr>
              <a:t>LEADING</a:t>
            </a:r>
            <a:r>
              <a:rPr lang="en-US" sz="4000" dirty="0">
                <a:solidFill>
                  <a:schemeClr val="tx2"/>
                </a:solidFill>
                <a:latin typeface="Caxton Std Book" pitchFamily="18" charset="0"/>
              </a:rPr>
              <a:t> &amp; Developing Others</a:t>
            </a:r>
          </a:p>
        </p:txBody>
      </p:sp>
      <p:sp>
        <p:nvSpPr>
          <p:cNvPr id="9" name="Down Arrow 4">
            <a:extLst>
              <a:ext uri="{FF2B5EF4-FFF2-40B4-BE49-F238E27FC236}">
                <a16:creationId xmlns:a16="http://schemas.microsoft.com/office/drawing/2014/main" id="{E08124C8-06E7-4B5F-9AF7-DBF9F6274900}"/>
              </a:ext>
            </a:extLst>
          </p:cNvPr>
          <p:cNvSpPr/>
          <p:nvPr/>
        </p:nvSpPr>
        <p:spPr>
          <a:xfrm>
            <a:off x="4671566" y="2979823"/>
            <a:ext cx="484632" cy="97840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09352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9352" algn="l" defTabSz="509352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18705" algn="l" defTabSz="509352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28058" algn="l" defTabSz="509352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37411" algn="l" defTabSz="509352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46764" algn="l" defTabSz="509352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56116" algn="l" defTabSz="509352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65469" algn="l" defTabSz="509352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74821" algn="l" defTabSz="509352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71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731A09AA-D590-451C-8263-44D9901004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9024" y="2420888"/>
            <a:ext cx="1655508" cy="81591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FAB77C4-C20A-419D-AC01-BF80A59251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2948" y="2284926"/>
            <a:ext cx="1380459" cy="11176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294" y="2300787"/>
            <a:ext cx="1418923" cy="1155721"/>
          </a:xfrm>
          <a:prstGeom prst="rect">
            <a:avLst/>
          </a:prstGeom>
        </p:spPr>
      </p:pic>
      <p:sp>
        <p:nvSpPr>
          <p:cNvPr id="27" name="Freeform 27">
            <a:extLst>
              <a:ext uri="{FF2B5EF4-FFF2-40B4-BE49-F238E27FC236}">
                <a16:creationId xmlns:a16="http://schemas.microsoft.com/office/drawing/2014/main" id="{4B9B4A2B-2AFF-4E6C-9CB6-F119E91CEC1D}"/>
              </a:ext>
            </a:extLst>
          </p:cNvPr>
          <p:cNvSpPr/>
          <p:nvPr/>
        </p:nvSpPr>
        <p:spPr>
          <a:xfrm>
            <a:off x="415561" y="1556792"/>
            <a:ext cx="9074878" cy="2589924"/>
          </a:xfrm>
          <a:custGeom>
            <a:avLst/>
            <a:gdLst>
              <a:gd name="connsiteX0" fmla="*/ 1078992 w 7335087"/>
              <a:gd name="connsiteY0" fmla="*/ 0 h 2157984"/>
              <a:gd name="connsiteX1" fmla="*/ 2157984 w 7335087"/>
              <a:gd name="connsiteY1" fmla="*/ 1078992 h 2157984"/>
              <a:gd name="connsiteX2" fmla="*/ 2160405 w 7335087"/>
              <a:gd name="connsiteY2" fmla="*/ 1078992 h 2157984"/>
              <a:gd name="connsiteX3" fmla="*/ 2804693 w 7335087"/>
              <a:gd name="connsiteY3" fmla="*/ 1723280 h 2157984"/>
              <a:gd name="connsiteX4" fmla="*/ 3448981 w 7335087"/>
              <a:gd name="connsiteY4" fmla="*/ 1078992 h 2157984"/>
              <a:gd name="connsiteX5" fmla="*/ 3451402 w 7335087"/>
              <a:gd name="connsiteY5" fmla="*/ 1078992 h 2157984"/>
              <a:gd name="connsiteX6" fmla="*/ 4530394 w 7335087"/>
              <a:gd name="connsiteY6" fmla="*/ 0 h 2157984"/>
              <a:gd name="connsiteX7" fmla="*/ 5609386 w 7335087"/>
              <a:gd name="connsiteY7" fmla="*/ 1078992 h 2157984"/>
              <a:gd name="connsiteX8" fmla="*/ 5611807 w 7335087"/>
              <a:gd name="connsiteY8" fmla="*/ 1078992 h 2157984"/>
              <a:gd name="connsiteX9" fmla="*/ 6256095 w 7335087"/>
              <a:gd name="connsiteY9" fmla="*/ 1723280 h 2157984"/>
              <a:gd name="connsiteX10" fmla="*/ 6900383 w 7335087"/>
              <a:gd name="connsiteY10" fmla="*/ 1078992 h 2157984"/>
              <a:gd name="connsiteX11" fmla="*/ 7335087 w 7335087"/>
              <a:gd name="connsiteY11" fmla="*/ 1078992 h 2157984"/>
              <a:gd name="connsiteX12" fmla="*/ 6256095 w 7335087"/>
              <a:gd name="connsiteY12" fmla="*/ 2157984 h 2157984"/>
              <a:gd name="connsiteX13" fmla="*/ 5177103 w 7335087"/>
              <a:gd name="connsiteY13" fmla="*/ 1078992 h 2157984"/>
              <a:gd name="connsiteX14" fmla="*/ 5174682 w 7335087"/>
              <a:gd name="connsiteY14" fmla="*/ 1078992 h 2157984"/>
              <a:gd name="connsiteX15" fmla="*/ 4530394 w 7335087"/>
              <a:gd name="connsiteY15" fmla="*/ 434704 h 2157984"/>
              <a:gd name="connsiteX16" fmla="*/ 3886106 w 7335087"/>
              <a:gd name="connsiteY16" fmla="*/ 1078992 h 2157984"/>
              <a:gd name="connsiteX17" fmla="*/ 3883685 w 7335087"/>
              <a:gd name="connsiteY17" fmla="*/ 1078992 h 2157984"/>
              <a:gd name="connsiteX18" fmla="*/ 2804693 w 7335087"/>
              <a:gd name="connsiteY18" fmla="*/ 2157984 h 2157984"/>
              <a:gd name="connsiteX19" fmla="*/ 1725701 w 7335087"/>
              <a:gd name="connsiteY19" fmla="*/ 1078992 h 2157984"/>
              <a:gd name="connsiteX20" fmla="*/ 1723280 w 7335087"/>
              <a:gd name="connsiteY20" fmla="*/ 1078992 h 2157984"/>
              <a:gd name="connsiteX21" fmla="*/ 1078992 w 7335087"/>
              <a:gd name="connsiteY21" fmla="*/ 434704 h 2157984"/>
              <a:gd name="connsiteX22" fmla="*/ 434704 w 7335087"/>
              <a:gd name="connsiteY22" fmla="*/ 1078992 h 2157984"/>
              <a:gd name="connsiteX23" fmla="*/ 0 w 7335087"/>
              <a:gd name="connsiteY23" fmla="*/ 1078992 h 2157984"/>
              <a:gd name="connsiteX24" fmla="*/ 1078992 w 7335087"/>
              <a:gd name="connsiteY24" fmla="*/ 0 h 2157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335087" h="2157984">
                <a:moveTo>
                  <a:pt x="1078992" y="0"/>
                </a:moveTo>
                <a:cubicBezTo>
                  <a:pt x="1674903" y="0"/>
                  <a:pt x="2157984" y="483081"/>
                  <a:pt x="2157984" y="1078992"/>
                </a:cubicBezTo>
                <a:lnTo>
                  <a:pt x="2160405" y="1078992"/>
                </a:lnTo>
                <a:cubicBezTo>
                  <a:pt x="2160405" y="1434822"/>
                  <a:pt x="2448863" y="1723280"/>
                  <a:pt x="2804693" y="1723280"/>
                </a:cubicBezTo>
                <a:cubicBezTo>
                  <a:pt x="3160523" y="1723280"/>
                  <a:pt x="3448981" y="1434822"/>
                  <a:pt x="3448981" y="1078992"/>
                </a:cubicBezTo>
                <a:lnTo>
                  <a:pt x="3451402" y="1078992"/>
                </a:lnTo>
                <a:cubicBezTo>
                  <a:pt x="3451402" y="483081"/>
                  <a:pt x="3934483" y="0"/>
                  <a:pt x="4530394" y="0"/>
                </a:cubicBezTo>
                <a:cubicBezTo>
                  <a:pt x="5126305" y="0"/>
                  <a:pt x="5609386" y="483081"/>
                  <a:pt x="5609386" y="1078992"/>
                </a:cubicBezTo>
                <a:lnTo>
                  <a:pt x="5611807" y="1078992"/>
                </a:lnTo>
                <a:cubicBezTo>
                  <a:pt x="5611807" y="1434822"/>
                  <a:pt x="5900265" y="1723280"/>
                  <a:pt x="6256095" y="1723280"/>
                </a:cubicBezTo>
                <a:cubicBezTo>
                  <a:pt x="6611925" y="1723280"/>
                  <a:pt x="6900383" y="1434822"/>
                  <a:pt x="6900383" y="1078992"/>
                </a:cubicBezTo>
                <a:lnTo>
                  <a:pt x="7335087" y="1078992"/>
                </a:lnTo>
                <a:cubicBezTo>
                  <a:pt x="7335087" y="1674903"/>
                  <a:pt x="6852006" y="2157984"/>
                  <a:pt x="6256095" y="2157984"/>
                </a:cubicBezTo>
                <a:cubicBezTo>
                  <a:pt x="5660184" y="2157984"/>
                  <a:pt x="5177103" y="1674903"/>
                  <a:pt x="5177103" y="1078992"/>
                </a:cubicBezTo>
                <a:lnTo>
                  <a:pt x="5174682" y="1078992"/>
                </a:lnTo>
                <a:cubicBezTo>
                  <a:pt x="5174682" y="723162"/>
                  <a:pt x="4886224" y="434704"/>
                  <a:pt x="4530394" y="434704"/>
                </a:cubicBezTo>
                <a:cubicBezTo>
                  <a:pt x="4174564" y="434704"/>
                  <a:pt x="3886106" y="723162"/>
                  <a:pt x="3886106" y="1078992"/>
                </a:cubicBezTo>
                <a:lnTo>
                  <a:pt x="3883685" y="1078992"/>
                </a:lnTo>
                <a:cubicBezTo>
                  <a:pt x="3883685" y="1674903"/>
                  <a:pt x="3400604" y="2157984"/>
                  <a:pt x="2804693" y="2157984"/>
                </a:cubicBezTo>
                <a:cubicBezTo>
                  <a:pt x="2208782" y="2157984"/>
                  <a:pt x="1725701" y="1674903"/>
                  <a:pt x="1725701" y="1078992"/>
                </a:cubicBezTo>
                <a:lnTo>
                  <a:pt x="1723280" y="1078992"/>
                </a:lnTo>
                <a:cubicBezTo>
                  <a:pt x="1723280" y="723162"/>
                  <a:pt x="1434822" y="434704"/>
                  <a:pt x="1078992" y="434704"/>
                </a:cubicBezTo>
                <a:cubicBezTo>
                  <a:pt x="723162" y="434704"/>
                  <a:pt x="434704" y="723162"/>
                  <a:pt x="434704" y="1078992"/>
                </a:cubicBezTo>
                <a:lnTo>
                  <a:pt x="0" y="1078992"/>
                </a:lnTo>
                <a:cubicBezTo>
                  <a:pt x="0" y="483081"/>
                  <a:pt x="483081" y="0"/>
                  <a:pt x="1078992" y="0"/>
                </a:cubicBezTo>
                <a:close/>
              </a:path>
            </a:pathLst>
          </a:custGeom>
          <a:gradFill>
            <a:gsLst>
              <a:gs pos="61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162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reeform 20">
            <a:extLst>
              <a:ext uri="{FF2B5EF4-FFF2-40B4-BE49-F238E27FC236}">
                <a16:creationId xmlns:a16="http://schemas.microsoft.com/office/drawing/2014/main" id="{C4B45555-DFD2-4E17-929A-D5B0531DD8FF}"/>
              </a:ext>
            </a:extLst>
          </p:cNvPr>
          <p:cNvSpPr/>
          <p:nvPr/>
        </p:nvSpPr>
        <p:spPr>
          <a:xfrm>
            <a:off x="415561" y="1556792"/>
            <a:ext cx="9074878" cy="2589924"/>
          </a:xfrm>
          <a:custGeom>
            <a:avLst/>
            <a:gdLst>
              <a:gd name="connsiteX0" fmla="*/ 2804693 w 7335087"/>
              <a:gd name="connsiteY0" fmla="*/ 0 h 2157984"/>
              <a:gd name="connsiteX1" fmla="*/ 3883685 w 7335087"/>
              <a:gd name="connsiteY1" fmla="*/ 1078992 h 2157984"/>
              <a:gd name="connsiteX2" fmla="*/ 3886106 w 7335087"/>
              <a:gd name="connsiteY2" fmla="*/ 1078992 h 2157984"/>
              <a:gd name="connsiteX3" fmla="*/ 4530394 w 7335087"/>
              <a:gd name="connsiteY3" fmla="*/ 1723280 h 2157984"/>
              <a:gd name="connsiteX4" fmla="*/ 5174682 w 7335087"/>
              <a:gd name="connsiteY4" fmla="*/ 1078992 h 2157984"/>
              <a:gd name="connsiteX5" fmla="*/ 5177103 w 7335087"/>
              <a:gd name="connsiteY5" fmla="*/ 1078992 h 2157984"/>
              <a:gd name="connsiteX6" fmla="*/ 6256095 w 7335087"/>
              <a:gd name="connsiteY6" fmla="*/ 0 h 2157984"/>
              <a:gd name="connsiteX7" fmla="*/ 7335087 w 7335087"/>
              <a:gd name="connsiteY7" fmla="*/ 1078992 h 2157984"/>
              <a:gd name="connsiteX8" fmla="*/ 6900383 w 7335087"/>
              <a:gd name="connsiteY8" fmla="*/ 1078992 h 2157984"/>
              <a:gd name="connsiteX9" fmla="*/ 6256095 w 7335087"/>
              <a:gd name="connsiteY9" fmla="*/ 434704 h 2157984"/>
              <a:gd name="connsiteX10" fmla="*/ 5611807 w 7335087"/>
              <a:gd name="connsiteY10" fmla="*/ 1078992 h 2157984"/>
              <a:gd name="connsiteX11" fmla="*/ 5609386 w 7335087"/>
              <a:gd name="connsiteY11" fmla="*/ 1078992 h 2157984"/>
              <a:gd name="connsiteX12" fmla="*/ 4530394 w 7335087"/>
              <a:gd name="connsiteY12" fmla="*/ 2157984 h 2157984"/>
              <a:gd name="connsiteX13" fmla="*/ 3451402 w 7335087"/>
              <a:gd name="connsiteY13" fmla="*/ 1078992 h 2157984"/>
              <a:gd name="connsiteX14" fmla="*/ 3448981 w 7335087"/>
              <a:gd name="connsiteY14" fmla="*/ 1078992 h 2157984"/>
              <a:gd name="connsiteX15" fmla="*/ 2804693 w 7335087"/>
              <a:gd name="connsiteY15" fmla="*/ 434704 h 2157984"/>
              <a:gd name="connsiteX16" fmla="*/ 2160405 w 7335087"/>
              <a:gd name="connsiteY16" fmla="*/ 1078992 h 2157984"/>
              <a:gd name="connsiteX17" fmla="*/ 2157984 w 7335087"/>
              <a:gd name="connsiteY17" fmla="*/ 1078992 h 2157984"/>
              <a:gd name="connsiteX18" fmla="*/ 1078992 w 7335087"/>
              <a:gd name="connsiteY18" fmla="*/ 2157984 h 2157984"/>
              <a:gd name="connsiteX19" fmla="*/ 0 w 7335087"/>
              <a:gd name="connsiteY19" fmla="*/ 1078992 h 2157984"/>
              <a:gd name="connsiteX20" fmla="*/ 434704 w 7335087"/>
              <a:gd name="connsiteY20" fmla="*/ 1078992 h 2157984"/>
              <a:gd name="connsiteX21" fmla="*/ 1078992 w 7335087"/>
              <a:gd name="connsiteY21" fmla="*/ 1723280 h 2157984"/>
              <a:gd name="connsiteX22" fmla="*/ 1723280 w 7335087"/>
              <a:gd name="connsiteY22" fmla="*/ 1078992 h 2157984"/>
              <a:gd name="connsiteX23" fmla="*/ 1725701 w 7335087"/>
              <a:gd name="connsiteY23" fmla="*/ 1078992 h 2157984"/>
              <a:gd name="connsiteX24" fmla="*/ 2804693 w 7335087"/>
              <a:gd name="connsiteY24" fmla="*/ 0 h 2157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335087" h="2157984">
                <a:moveTo>
                  <a:pt x="2804693" y="0"/>
                </a:moveTo>
                <a:cubicBezTo>
                  <a:pt x="3400604" y="0"/>
                  <a:pt x="3883685" y="483081"/>
                  <a:pt x="3883685" y="1078992"/>
                </a:cubicBezTo>
                <a:lnTo>
                  <a:pt x="3886106" y="1078992"/>
                </a:lnTo>
                <a:cubicBezTo>
                  <a:pt x="3886106" y="1434822"/>
                  <a:pt x="4174564" y="1723280"/>
                  <a:pt x="4530394" y="1723280"/>
                </a:cubicBezTo>
                <a:cubicBezTo>
                  <a:pt x="4886224" y="1723280"/>
                  <a:pt x="5174682" y="1434822"/>
                  <a:pt x="5174682" y="1078992"/>
                </a:cubicBezTo>
                <a:lnTo>
                  <a:pt x="5177103" y="1078992"/>
                </a:lnTo>
                <a:cubicBezTo>
                  <a:pt x="5177103" y="483081"/>
                  <a:pt x="5660184" y="0"/>
                  <a:pt x="6256095" y="0"/>
                </a:cubicBezTo>
                <a:cubicBezTo>
                  <a:pt x="6852006" y="0"/>
                  <a:pt x="7335087" y="483081"/>
                  <a:pt x="7335087" y="1078992"/>
                </a:cubicBezTo>
                <a:lnTo>
                  <a:pt x="6900383" y="1078992"/>
                </a:lnTo>
                <a:cubicBezTo>
                  <a:pt x="6900383" y="723162"/>
                  <a:pt x="6611925" y="434704"/>
                  <a:pt x="6256095" y="434704"/>
                </a:cubicBezTo>
                <a:cubicBezTo>
                  <a:pt x="5900265" y="434704"/>
                  <a:pt x="5611807" y="723162"/>
                  <a:pt x="5611807" y="1078992"/>
                </a:cubicBezTo>
                <a:lnTo>
                  <a:pt x="5609386" y="1078992"/>
                </a:lnTo>
                <a:cubicBezTo>
                  <a:pt x="5609386" y="1674903"/>
                  <a:pt x="5126305" y="2157984"/>
                  <a:pt x="4530394" y="2157984"/>
                </a:cubicBezTo>
                <a:cubicBezTo>
                  <a:pt x="3934483" y="2157984"/>
                  <a:pt x="3451402" y="1674903"/>
                  <a:pt x="3451402" y="1078992"/>
                </a:cubicBezTo>
                <a:lnTo>
                  <a:pt x="3448981" y="1078992"/>
                </a:lnTo>
                <a:cubicBezTo>
                  <a:pt x="3448981" y="723162"/>
                  <a:pt x="3160523" y="434704"/>
                  <a:pt x="2804693" y="434704"/>
                </a:cubicBezTo>
                <a:cubicBezTo>
                  <a:pt x="2448863" y="434704"/>
                  <a:pt x="2160405" y="723162"/>
                  <a:pt x="2160405" y="1078992"/>
                </a:cubicBezTo>
                <a:lnTo>
                  <a:pt x="2157984" y="1078992"/>
                </a:lnTo>
                <a:cubicBezTo>
                  <a:pt x="2157984" y="1674903"/>
                  <a:pt x="1674903" y="2157984"/>
                  <a:pt x="1078992" y="2157984"/>
                </a:cubicBezTo>
                <a:cubicBezTo>
                  <a:pt x="483081" y="2157984"/>
                  <a:pt x="0" y="1674903"/>
                  <a:pt x="0" y="1078992"/>
                </a:cubicBezTo>
                <a:lnTo>
                  <a:pt x="434704" y="1078992"/>
                </a:lnTo>
                <a:cubicBezTo>
                  <a:pt x="434704" y="1434822"/>
                  <a:pt x="723162" y="1723280"/>
                  <a:pt x="1078992" y="1723280"/>
                </a:cubicBezTo>
                <a:cubicBezTo>
                  <a:pt x="1434822" y="1723280"/>
                  <a:pt x="1723280" y="1434822"/>
                  <a:pt x="1723280" y="1078992"/>
                </a:cubicBezTo>
                <a:lnTo>
                  <a:pt x="1725701" y="1078992"/>
                </a:lnTo>
                <a:cubicBezTo>
                  <a:pt x="1725701" y="483081"/>
                  <a:pt x="2208782" y="0"/>
                  <a:pt x="2804693" y="0"/>
                </a:cubicBezTo>
                <a:close/>
              </a:path>
            </a:pathLst>
          </a:custGeom>
          <a:gradFill>
            <a:gsLst>
              <a:gs pos="61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162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49C765-B5BF-4C0D-B9DE-3851996AA0C6}"/>
              </a:ext>
            </a:extLst>
          </p:cNvPr>
          <p:cNvSpPr txBox="1"/>
          <p:nvPr/>
        </p:nvSpPr>
        <p:spPr>
          <a:xfrm>
            <a:off x="627344" y="260648"/>
            <a:ext cx="8842011" cy="47775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n-US" sz="2000" b="1" dirty="0">
                <a:solidFill>
                  <a:schemeClr val="bg1"/>
                </a:solidFill>
                <a:cs typeface="Arial"/>
              </a:rPr>
              <a:t>KEEPING UP WITH OUR EVOLVING INDUSTRY	</a:t>
            </a:r>
            <a:endParaRPr lang="en-US" sz="2000" b="1" dirty="0">
              <a:solidFill>
                <a:schemeClr val="accent1"/>
              </a:solidFill>
              <a:cs typeface="Arial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277877A-BE57-44B6-B9F2-22FC2F8E26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155" y="2420888"/>
            <a:ext cx="1260757" cy="949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56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627344" y="260648"/>
            <a:ext cx="8842011" cy="47775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n-US" sz="2000" b="1" dirty="0">
                <a:solidFill>
                  <a:schemeClr val="bg1"/>
                </a:solidFill>
                <a:cs typeface="Arial"/>
              </a:rPr>
              <a:t>JUST THE FACTS	</a:t>
            </a:r>
            <a:endParaRPr lang="en-US" sz="2000" b="1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582298" y="3035457"/>
            <a:ext cx="1822485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lnSpc>
                <a:spcPts val="156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defRPr/>
            </a:pPr>
            <a:r>
              <a:rPr lang="en-US" sz="1400" dirty="0">
                <a:solidFill>
                  <a:schemeClr val="bg1"/>
                </a:solidFill>
              </a:rPr>
              <a:t>According to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the American Community survey data used by Pew, 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93383" y="3627851"/>
            <a:ext cx="2311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The wired, connected </a:t>
            </a:r>
            <a: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millennials </a:t>
            </a:r>
            <a:b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</a:b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are motivated differently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DB35CB-8A20-41B8-86EF-AB94354AF4E0}"/>
              </a:ext>
            </a:extLst>
          </p:cNvPr>
          <p:cNvSpPr/>
          <p:nvPr/>
        </p:nvSpPr>
        <p:spPr bwMode="auto">
          <a:xfrm>
            <a:off x="2356894" y="3491992"/>
            <a:ext cx="1732010" cy="135859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755247C-9EFE-4F5F-BC77-DD6E52B09EB2}"/>
              </a:ext>
            </a:extLst>
          </p:cNvPr>
          <p:cNvSpPr txBox="1"/>
          <p:nvPr/>
        </p:nvSpPr>
        <p:spPr>
          <a:xfrm>
            <a:off x="508893" y="1248916"/>
            <a:ext cx="9078912" cy="4360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tx2"/>
                </a:solidFill>
                <a:latin typeface="Caxton Std Book" pitchFamily="18" charset="0"/>
              </a:rPr>
              <a:t>According to The Kiplinger Letter:</a:t>
            </a:r>
          </a:p>
          <a:p>
            <a:pPr algn="ctr"/>
            <a:r>
              <a:rPr lang="en-US" sz="2800" b="1" dirty="0">
                <a:solidFill>
                  <a:schemeClr val="tx2"/>
                </a:solidFill>
                <a:latin typeface="Caxton Std Book" pitchFamily="18" charset="0"/>
              </a:rPr>
              <a:t>Forecasts for Executives &amp; Investors</a:t>
            </a:r>
          </a:p>
          <a:p>
            <a:pPr algn="ctr"/>
            <a:r>
              <a:rPr lang="en-US" dirty="0">
                <a:solidFill>
                  <a:schemeClr val="tx2"/>
                </a:solidFill>
                <a:latin typeface="Caxton Std Book" pitchFamily="18" charset="0"/>
              </a:rPr>
              <a:t>(dated 2/16/18)</a:t>
            </a:r>
          </a:p>
          <a:p>
            <a:pPr algn="ctr"/>
            <a:endParaRPr lang="en-US" dirty="0">
              <a:solidFill>
                <a:schemeClr val="tx2"/>
              </a:solidFill>
              <a:latin typeface="Caxton Std Book" pitchFamily="18" charset="0"/>
            </a:endParaRPr>
          </a:p>
          <a:p>
            <a:pPr marL="457200" indent="-4572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2"/>
                </a:solidFill>
                <a:latin typeface="Caxton Std Book" pitchFamily="18" charset="0"/>
              </a:rPr>
              <a:t>The labor shortage is going to get even worse as 2018 unfolds.</a:t>
            </a:r>
          </a:p>
          <a:p>
            <a:pPr marL="457200" indent="-4572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2"/>
                </a:solidFill>
                <a:latin typeface="Caxton Std Book" pitchFamily="18" charset="0"/>
              </a:rPr>
              <a:t>There just aren’t enough able bodies to go around, especially as businesses seek to expand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2"/>
                </a:solidFill>
                <a:latin typeface="Caxton Std Book" pitchFamily="18" charset="0"/>
              </a:rPr>
              <a:t>A whopping 56% of millennials report intentions to look for a new job within a year.</a:t>
            </a:r>
          </a:p>
        </p:txBody>
      </p:sp>
    </p:spTree>
    <p:extLst>
      <p:ext uri="{BB962C8B-B14F-4D97-AF65-F5344CB8AC3E}">
        <p14:creationId xmlns:p14="http://schemas.microsoft.com/office/powerpoint/2010/main" val="427763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627344" y="260648"/>
            <a:ext cx="8842011" cy="47775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n-US" sz="2000" b="1" dirty="0">
                <a:solidFill>
                  <a:schemeClr val="bg1"/>
                </a:solidFill>
                <a:cs typeface="Arial"/>
              </a:rPr>
              <a:t>JUST THE FACTS	</a:t>
            </a:r>
            <a:endParaRPr lang="en-US" sz="2000" b="1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582298" y="3035457"/>
            <a:ext cx="1822485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lnSpc>
                <a:spcPts val="156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defRPr/>
            </a:pPr>
            <a:r>
              <a:rPr lang="en-US" sz="1400" dirty="0">
                <a:solidFill>
                  <a:schemeClr val="bg1"/>
                </a:solidFill>
              </a:rPr>
              <a:t>According to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the American Community survey data used by Pew, 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93383" y="3627851"/>
            <a:ext cx="2311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The wired, connected </a:t>
            </a:r>
            <a: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millennials </a:t>
            </a:r>
            <a:b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</a:b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are motivated differently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DB35CB-8A20-41B8-86EF-AB94354AF4E0}"/>
              </a:ext>
            </a:extLst>
          </p:cNvPr>
          <p:cNvSpPr/>
          <p:nvPr/>
        </p:nvSpPr>
        <p:spPr bwMode="auto">
          <a:xfrm>
            <a:off x="2356894" y="3491992"/>
            <a:ext cx="1732010" cy="135859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4521AD-765B-487A-B737-EDC830866FF0}"/>
              </a:ext>
            </a:extLst>
          </p:cNvPr>
          <p:cNvSpPr txBox="1"/>
          <p:nvPr/>
        </p:nvSpPr>
        <p:spPr>
          <a:xfrm>
            <a:off x="514340" y="1177101"/>
            <a:ext cx="8955015" cy="4503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dirty="0">
                <a:solidFill>
                  <a:schemeClr val="tx2"/>
                </a:solidFill>
                <a:latin typeface="Caxton Std Book" pitchFamily="18" charset="0"/>
              </a:rPr>
              <a:t>According to the Society for Human Resource Management:</a:t>
            </a:r>
          </a:p>
          <a:p>
            <a:pPr algn="ctr"/>
            <a:r>
              <a:rPr lang="en-US" sz="2600" b="1" dirty="0">
                <a:solidFill>
                  <a:schemeClr val="tx2"/>
                </a:solidFill>
                <a:latin typeface="Caxton Std Book" pitchFamily="18" charset="0"/>
              </a:rPr>
              <a:t>These Are the Hardest Jobs to Fill Right Now</a:t>
            </a:r>
          </a:p>
          <a:p>
            <a:pPr algn="ctr"/>
            <a:r>
              <a:rPr lang="en-US" dirty="0">
                <a:solidFill>
                  <a:schemeClr val="tx2"/>
                </a:solidFill>
                <a:latin typeface="Caxton Std Book" pitchFamily="18" charset="0"/>
              </a:rPr>
              <a:t>(dated 2/28/18)</a:t>
            </a:r>
          </a:p>
          <a:p>
            <a:pPr algn="ctr"/>
            <a:endParaRPr lang="en-US" dirty="0">
              <a:solidFill>
                <a:schemeClr val="tx2"/>
              </a:solidFill>
              <a:latin typeface="Caxton Std Book" pitchFamily="18" charset="0"/>
            </a:endParaRPr>
          </a:p>
          <a:p>
            <a:pPr marL="457200" indent="-4572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2"/>
                </a:solidFill>
                <a:latin typeface="Caxton Std Book" pitchFamily="18" charset="0"/>
              </a:rPr>
              <a:t>Two of the top 10 most in-demand positions in 2018 are projected to be home health aides and personal care aides. </a:t>
            </a:r>
          </a:p>
          <a:p>
            <a:pPr marL="457200" indent="-4572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2"/>
                </a:solidFill>
                <a:latin typeface="Caxton Std Book" pitchFamily="18" charset="0"/>
              </a:rPr>
              <a:t>The Bureau of Labor Statistics predicts that an additional 777,600 personal care aides will be needed over the next eight year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2"/>
                </a:solidFill>
                <a:latin typeface="Caxton Std Book" pitchFamily="18" charset="0"/>
              </a:rPr>
              <a:t>The growth outlook for home health aides is nearly 50% over the next eight years.</a:t>
            </a:r>
          </a:p>
        </p:txBody>
      </p:sp>
    </p:spTree>
    <p:extLst>
      <p:ext uri="{BB962C8B-B14F-4D97-AF65-F5344CB8AC3E}">
        <p14:creationId xmlns:p14="http://schemas.microsoft.com/office/powerpoint/2010/main" val="167256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627344" y="260648"/>
            <a:ext cx="8842011" cy="52835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n-US" sz="2000" b="1" dirty="0">
                <a:solidFill>
                  <a:schemeClr val="bg1"/>
                </a:solidFill>
                <a:cs typeface="Arial"/>
              </a:rPr>
              <a:t>KEY WORKFORCE TRENDS IN THE U.S.</a:t>
            </a:r>
            <a:r>
              <a:rPr lang="en-US" sz="2000" b="1" dirty="0">
                <a:solidFill>
                  <a:schemeClr val="accent1"/>
                </a:solidFill>
                <a:cs typeface="Arial"/>
              </a:rPr>
              <a:t>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582298" y="3035457"/>
            <a:ext cx="1822485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lnSpc>
                <a:spcPts val="156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defRPr/>
            </a:pPr>
            <a:r>
              <a:rPr lang="en-US" sz="1400" dirty="0">
                <a:solidFill>
                  <a:schemeClr val="bg1"/>
                </a:solidFill>
              </a:rPr>
              <a:t>According to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the American Community survey data used by Pew, 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582298" y="3952864"/>
            <a:ext cx="4124096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lnSpc>
                <a:spcPts val="256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defRPr/>
            </a:pPr>
            <a:r>
              <a:rPr lang="en-US" sz="2000" b="1" dirty="0">
                <a:solidFill>
                  <a:schemeClr val="bg1"/>
                </a:solidFill>
              </a:rPr>
              <a:t>Hispanics comprise </a:t>
            </a:r>
            <a:br>
              <a:rPr lang="en-US" sz="2000" b="1" dirty="0">
                <a:solidFill>
                  <a:schemeClr val="bg1"/>
                </a:solidFill>
              </a:rPr>
            </a:br>
            <a:r>
              <a:rPr lang="en-US" sz="2800" b="1" dirty="0">
                <a:solidFill>
                  <a:schemeClr val="bg1"/>
                </a:solidFill>
              </a:rPr>
              <a:t>16.4% of the </a:t>
            </a:r>
            <a:br>
              <a:rPr lang="en-US" sz="2800" b="1" dirty="0">
                <a:solidFill>
                  <a:schemeClr val="bg1"/>
                </a:solidFill>
              </a:rPr>
            </a:br>
            <a:r>
              <a:rPr lang="en-US" sz="2800" b="1" dirty="0">
                <a:solidFill>
                  <a:schemeClr val="bg1"/>
                </a:solidFill>
              </a:rPr>
              <a:t>U.S. population</a:t>
            </a:r>
            <a:r>
              <a:rPr lang="en-US" sz="2000" b="1" dirty="0">
                <a:solidFill>
                  <a:schemeClr val="bg1"/>
                </a:solidFill>
              </a:rPr>
              <a:t>.</a:t>
            </a:r>
          </a:p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93383" y="3627851"/>
            <a:ext cx="2311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The wired, connected </a:t>
            </a:r>
            <a: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millennials </a:t>
            </a:r>
            <a:b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</a:b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are motivated differently. 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2A2A096C-A9C7-42D0-972D-B102276E1E2F}"/>
              </a:ext>
            </a:extLst>
          </p:cNvPr>
          <p:cNvSpPr txBox="1">
            <a:spLocks/>
          </p:cNvSpPr>
          <p:nvPr/>
        </p:nvSpPr>
        <p:spPr>
          <a:xfrm>
            <a:off x="6377505" y="992464"/>
            <a:ext cx="3302926" cy="127882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ts val="286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sz="2800" b="1" dirty="0">
                <a:solidFill>
                  <a:schemeClr val="tx2"/>
                </a:solidFill>
              </a:rPr>
              <a:t>Today 1/3 are minorities</a:t>
            </a:r>
            <a:r>
              <a:rPr lang="en-US" sz="28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C224CE-03D0-404F-9E2B-C047B7BC85D0}"/>
              </a:ext>
            </a:extLst>
          </p:cNvPr>
          <p:cNvSpPr txBox="1"/>
          <p:nvPr/>
        </p:nvSpPr>
        <p:spPr>
          <a:xfrm>
            <a:off x="2596572" y="2677646"/>
            <a:ext cx="23564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t is projected that by </a:t>
            </a:r>
            <a:r>
              <a:rPr lang="en-US" sz="1400" b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020, 81 percent of the new entrants</a:t>
            </a:r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into the workforce </a:t>
            </a:r>
            <a:b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will be women or </a:t>
            </a:r>
            <a:r>
              <a:rPr lang="en-US" sz="1400" b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minorities.</a:t>
            </a:r>
            <a:endParaRPr lang="en-US" sz="1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8B1222-749F-4536-AC61-890266861C6F}"/>
              </a:ext>
            </a:extLst>
          </p:cNvPr>
          <p:cNvSpPr txBox="1"/>
          <p:nvPr/>
        </p:nvSpPr>
        <p:spPr>
          <a:xfrm>
            <a:off x="507389" y="1151007"/>
            <a:ext cx="528200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b="1" dirty="0">
                <a:solidFill>
                  <a:schemeClr val="tx2"/>
                </a:solidFill>
              </a:rPr>
              <a:t>Minorities </a:t>
            </a:r>
            <a:r>
              <a:rPr lang="en-US" dirty="0">
                <a:solidFill>
                  <a:schemeClr val="tx2"/>
                </a:solidFill>
              </a:rPr>
              <a:t>will constitute a majority of the nation’s children under 18 by 2023 and of working-age Americans by 2039.</a:t>
            </a:r>
          </a:p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endParaRPr lang="en-US" dirty="0">
              <a:solidFill>
                <a:schemeClr val="tx2"/>
              </a:solidFill>
            </a:endParaRPr>
          </a:p>
          <a:p>
            <a:pPr marL="0" lvl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5" name="Text Box 17">
            <a:extLst>
              <a:ext uri="{FF2B5EF4-FFF2-40B4-BE49-F238E27FC236}">
                <a16:creationId xmlns:a16="http://schemas.microsoft.com/office/drawing/2014/main" id="{12272CCE-E78E-48A5-B2A8-1A39114A85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6915" y="3323977"/>
            <a:ext cx="1676619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4800" b="1" spc="-70" dirty="0">
                <a:solidFill>
                  <a:schemeClr val="accent6">
                    <a:lumMod val="75000"/>
                  </a:schemeClr>
                </a:solidFill>
                <a:ea typeface="Arial" charset="0"/>
                <a:cs typeface="Arial" charset="0"/>
              </a:rPr>
              <a:t>81%</a:t>
            </a:r>
            <a:br>
              <a:rPr lang="en-US" sz="4800" b="1" spc="-70" dirty="0">
                <a:solidFill>
                  <a:schemeClr val="accent6">
                    <a:lumMod val="75000"/>
                  </a:schemeClr>
                </a:solidFill>
                <a:ea typeface="Arial" charset="0"/>
                <a:cs typeface="Arial" charset="0"/>
              </a:rPr>
            </a:br>
            <a:endParaRPr lang="en-US" sz="1400" b="1" spc="-70" dirty="0">
              <a:solidFill>
                <a:schemeClr val="accent6">
                  <a:lumMod val="75000"/>
                </a:schemeClr>
              </a:solidFill>
              <a:ea typeface="Arial" charset="0"/>
              <a:cs typeface="Arial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2716139-43AE-4162-AF2C-5338D8328DD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985" y="2564904"/>
            <a:ext cx="1919620" cy="8304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9C13A92-47D6-4695-8BBE-496EEF0E13D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616" y="3309460"/>
            <a:ext cx="3048705" cy="1876126"/>
          </a:xfrm>
          <a:prstGeom prst="rect">
            <a:avLst/>
          </a:prstGeom>
          <a:effectLst/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18C40AF0-6A69-4FF3-8ADE-0C825DB96CB7}"/>
              </a:ext>
            </a:extLst>
          </p:cNvPr>
          <p:cNvSpPr/>
          <p:nvPr/>
        </p:nvSpPr>
        <p:spPr bwMode="auto">
          <a:xfrm>
            <a:off x="5241032" y="3284984"/>
            <a:ext cx="1457199" cy="1892373"/>
          </a:xfrm>
          <a:prstGeom prst="rect">
            <a:avLst/>
          </a:prstGeom>
          <a:solidFill>
            <a:srgbClr val="65676A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791957D-7037-4195-83B4-F1733A3546D0}"/>
              </a:ext>
            </a:extLst>
          </p:cNvPr>
          <p:cNvSpPr txBox="1"/>
          <p:nvPr/>
        </p:nvSpPr>
        <p:spPr>
          <a:xfrm>
            <a:off x="5242219" y="3390489"/>
            <a:ext cx="145601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The wired, connected </a:t>
            </a:r>
            <a: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millennials </a:t>
            </a:r>
            <a:b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</a:b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are motivated differently. 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78C41B01-0553-402A-9B3D-FF717ADCF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435" y="4319761"/>
            <a:ext cx="2212975" cy="189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6B965EB9-CD05-4AB2-A01B-093CE0FBEB24}"/>
              </a:ext>
            </a:extLst>
          </p:cNvPr>
          <p:cNvSpPr txBox="1"/>
          <p:nvPr/>
        </p:nvSpPr>
        <p:spPr>
          <a:xfrm>
            <a:off x="606847" y="4116638"/>
            <a:ext cx="2178915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new entrants</a:t>
            </a:r>
            <a:r>
              <a:rPr lang="en-US" sz="1600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into the workforce</a:t>
            </a:r>
            <a:endParaRPr lang="en-US" sz="16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89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627344" y="260648"/>
            <a:ext cx="8842011" cy="47775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n-US" sz="2000" b="1" dirty="0">
                <a:solidFill>
                  <a:schemeClr val="bg1"/>
                </a:solidFill>
                <a:cs typeface="Arial"/>
              </a:rPr>
              <a:t>GENERATIONS IN THE WORKPLACE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582298" y="3035457"/>
            <a:ext cx="1822485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lnSpc>
                <a:spcPts val="156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defRPr/>
            </a:pPr>
            <a:r>
              <a:rPr lang="en-US" sz="1400" dirty="0">
                <a:solidFill>
                  <a:schemeClr val="bg1"/>
                </a:solidFill>
              </a:rPr>
              <a:t>According to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the American Community survey data used by Pew, 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582298" y="3952864"/>
            <a:ext cx="4124096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lnSpc>
                <a:spcPts val="256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defRPr/>
            </a:pPr>
            <a:r>
              <a:rPr lang="en-US" sz="2000" b="1" dirty="0">
                <a:solidFill>
                  <a:schemeClr val="bg1"/>
                </a:solidFill>
              </a:rPr>
              <a:t>Hispanics comprise </a:t>
            </a:r>
            <a:br>
              <a:rPr lang="en-US" sz="2000" b="1" dirty="0">
                <a:solidFill>
                  <a:schemeClr val="bg1"/>
                </a:solidFill>
              </a:rPr>
            </a:br>
            <a:r>
              <a:rPr lang="en-US" sz="2800" b="1" dirty="0">
                <a:solidFill>
                  <a:schemeClr val="bg1"/>
                </a:solidFill>
              </a:rPr>
              <a:t>16.4% of the </a:t>
            </a:r>
            <a:br>
              <a:rPr lang="en-US" sz="2800" b="1" dirty="0">
                <a:solidFill>
                  <a:schemeClr val="bg1"/>
                </a:solidFill>
              </a:rPr>
            </a:br>
            <a:r>
              <a:rPr lang="en-US" sz="2800" b="1" dirty="0">
                <a:solidFill>
                  <a:schemeClr val="bg1"/>
                </a:solidFill>
              </a:rPr>
              <a:t>U.S. population</a:t>
            </a:r>
            <a:r>
              <a:rPr lang="en-US" sz="2000" b="1" dirty="0">
                <a:solidFill>
                  <a:schemeClr val="bg1"/>
                </a:solidFill>
              </a:rPr>
              <a:t>.</a:t>
            </a:r>
          </a:p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93383" y="3627851"/>
            <a:ext cx="2311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-28575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The wired, connected </a:t>
            </a:r>
            <a: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millennials </a:t>
            </a:r>
            <a:br>
              <a:rPr lang="en-US" b="1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</a:br>
            <a:r>
              <a:rPr lang="en-US" dirty="0">
                <a:solidFill>
                  <a:schemeClr val="bg1"/>
                </a:solidFill>
                <a:cs typeface="Times New Roman" pitchFamily="18" charset="0"/>
                <a:sym typeface="Wingdings" pitchFamily="2" charset="2"/>
              </a:rPr>
              <a:t>are motivated differently.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6DE1926-5551-4092-BE0D-907AF8CDF7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19608" y="1335903"/>
            <a:ext cx="11396270" cy="458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64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CRUITMENT:  FINDING THE RIGHT PEOP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</a:t>
            </a:r>
          </a:p>
          <a:p>
            <a:r>
              <a:rPr lang="en-US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and</a:t>
            </a:r>
          </a:p>
          <a:p>
            <a:r>
              <a:rPr lang="en-US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pand</a:t>
            </a:r>
          </a:p>
          <a:p>
            <a:endParaRPr lang="en-US" dirty="0"/>
          </a:p>
        </p:txBody>
      </p:sp>
      <p:sp>
        <p:nvSpPr>
          <p:cNvPr id="98" name="Title 1"/>
          <p:cNvSpPr txBox="1">
            <a:spLocks/>
          </p:cNvSpPr>
          <p:nvPr/>
        </p:nvSpPr>
        <p:spPr>
          <a:xfrm>
            <a:off x="628650" y="317501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D356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1D356B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154367" y="1901040"/>
            <a:ext cx="5394580" cy="3317486"/>
            <a:chOff x="1150438" y="1820329"/>
            <a:chExt cx="7592665" cy="3931920"/>
          </a:xfrm>
        </p:grpSpPr>
        <p:sp>
          <p:nvSpPr>
            <p:cNvPr id="97" name="Oval 96"/>
            <p:cNvSpPr/>
            <p:nvPr/>
          </p:nvSpPr>
          <p:spPr>
            <a:xfrm>
              <a:off x="1707775" y="1981059"/>
              <a:ext cx="1920240" cy="1920240"/>
            </a:xfrm>
            <a:prstGeom prst="ellipse">
              <a:avLst/>
            </a:prstGeom>
            <a:gradFill>
              <a:gsLst>
                <a:gs pos="42000">
                  <a:srgbClr val="FFFFFF"/>
                </a:gs>
                <a:gs pos="94000">
                  <a:srgbClr val="002060"/>
                </a:gs>
              </a:gsLst>
              <a:path path="circle">
                <a:fillToRect l="50000" t="50000" r="50000" b="50000"/>
              </a:path>
            </a:gra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9" name="Group 98"/>
            <p:cNvGrpSpPr>
              <a:grpSpLocks noChangeAspect="1"/>
            </p:cNvGrpSpPr>
            <p:nvPr/>
          </p:nvGrpSpPr>
          <p:grpSpPr>
            <a:xfrm>
              <a:off x="1150438" y="1820329"/>
              <a:ext cx="2629503" cy="3931920"/>
              <a:chOff x="796906" y="1510405"/>
              <a:chExt cx="3200266" cy="4785391"/>
            </a:xfrm>
          </p:grpSpPr>
          <p:grpSp>
            <p:nvGrpSpPr>
              <p:cNvPr id="100" name="Group 99"/>
              <p:cNvGrpSpPr/>
              <p:nvPr/>
            </p:nvGrpSpPr>
            <p:grpSpPr>
              <a:xfrm rot="2200897">
                <a:off x="796906" y="3637261"/>
                <a:ext cx="567765" cy="2658535"/>
                <a:chOff x="7192427" y="3757613"/>
                <a:chExt cx="621925" cy="2912128"/>
              </a:xfrm>
            </p:grpSpPr>
            <p:sp>
              <p:nvSpPr>
                <p:cNvPr id="134" name="Freeform 133"/>
                <p:cNvSpPr/>
                <p:nvPr/>
              </p:nvSpPr>
              <p:spPr>
                <a:xfrm>
                  <a:off x="7358358" y="3757613"/>
                  <a:ext cx="297273" cy="384110"/>
                </a:xfrm>
                <a:custGeom>
                  <a:avLst/>
                  <a:gdLst>
                    <a:gd name="connsiteX0" fmla="*/ 0 w 297272"/>
                    <a:gd name="connsiteY0" fmla="*/ 0 h 328819"/>
                    <a:gd name="connsiteX1" fmla="*/ 114003 w 297272"/>
                    <a:gd name="connsiteY1" fmla="*/ 0 h 328819"/>
                    <a:gd name="connsiteX2" fmla="*/ 147190 w 297272"/>
                    <a:gd name="connsiteY2" fmla="*/ 0 h 328819"/>
                    <a:gd name="connsiteX3" fmla="*/ 297272 w 297272"/>
                    <a:gd name="connsiteY3" fmla="*/ 0 h 328819"/>
                    <a:gd name="connsiteX4" fmla="*/ 297272 w 297272"/>
                    <a:gd name="connsiteY4" fmla="*/ 328819 h 328819"/>
                    <a:gd name="connsiteX5" fmla="*/ 147190 w 297272"/>
                    <a:gd name="connsiteY5" fmla="*/ 328819 h 328819"/>
                    <a:gd name="connsiteX6" fmla="*/ 114003 w 297272"/>
                    <a:gd name="connsiteY6" fmla="*/ 328819 h 328819"/>
                    <a:gd name="connsiteX7" fmla="*/ 0 w 297272"/>
                    <a:gd name="connsiteY7" fmla="*/ 328819 h 328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7272" h="328819">
                      <a:moveTo>
                        <a:pt x="0" y="0"/>
                      </a:moveTo>
                      <a:lnTo>
                        <a:pt x="114003" y="0"/>
                      </a:lnTo>
                      <a:lnTo>
                        <a:pt x="147190" y="0"/>
                      </a:lnTo>
                      <a:lnTo>
                        <a:pt x="297272" y="0"/>
                      </a:lnTo>
                      <a:lnTo>
                        <a:pt x="297272" y="328819"/>
                      </a:lnTo>
                      <a:lnTo>
                        <a:pt x="147190" y="328819"/>
                      </a:lnTo>
                      <a:lnTo>
                        <a:pt x="114003" y="328819"/>
                      </a:lnTo>
                      <a:lnTo>
                        <a:pt x="0" y="328819"/>
                      </a:lnTo>
                      <a:close/>
                    </a:path>
                  </a:pathLst>
                </a:custGeom>
                <a:gradFill flip="none" rotWithShape="1">
                  <a:gsLst>
                    <a:gs pos="58400">
                      <a:sysClr val="window" lastClr="FFFFFF">
                        <a:lumMod val="85000"/>
                      </a:sysClr>
                    </a:gs>
                    <a:gs pos="0">
                      <a:sysClr val="windowText" lastClr="000000">
                        <a:lumMod val="75000"/>
                        <a:lumOff val="25000"/>
                      </a:sysClr>
                    </a:gs>
                    <a:gs pos="100000">
                      <a:sysClr val="windowText" lastClr="000000">
                        <a:lumMod val="65000"/>
                        <a:lumOff val="35000"/>
                      </a:sysClr>
                    </a:gs>
                  </a:gsLst>
                  <a:lin ang="0" scaled="1"/>
                  <a:tileRect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" name="Freeform 134"/>
                <p:cNvSpPr/>
                <p:nvPr/>
              </p:nvSpPr>
              <p:spPr>
                <a:xfrm>
                  <a:off x="7192427" y="4222224"/>
                  <a:ext cx="621924" cy="2339306"/>
                </a:xfrm>
                <a:custGeom>
                  <a:avLst/>
                  <a:gdLst>
                    <a:gd name="connsiteX0" fmla="*/ 0 w 621924"/>
                    <a:gd name="connsiteY0" fmla="*/ 0 h 2339306"/>
                    <a:gd name="connsiteX1" fmla="*/ 208497 w 621924"/>
                    <a:gd name="connsiteY1" fmla="*/ 0 h 2339306"/>
                    <a:gd name="connsiteX2" fmla="*/ 316014 w 621924"/>
                    <a:gd name="connsiteY2" fmla="*/ 0 h 2339306"/>
                    <a:gd name="connsiteX3" fmla="*/ 621924 w 621924"/>
                    <a:gd name="connsiteY3" fmla="*/ 0 h 2339306"/>
                    <a:gd name="connsiteX4" fmla="*/ 621924 w 621924"/>
                    <a:gd name="connsiteY4" fmla="*/ 2339306 h 2339306"/>
                    <a:gd name="connsiteX5" fmla="*/ 316014 w 621924"/>
                    <a:gd name="connsiteY5" fmla="*/ 2339306 h 2339306"/>
                    <a:gd name="connsiteX6" fmla="*/ 208497 w 621924"/>
                    <a:gd name="connsiteY6" fmla="*/ 2339306 h 2339306"/>
                    <a:gd name="connsiteX7" fmla="*/ 0 w 621924"/>
                    <a:gd name="connsiteY7" fmla="*/ 2339306 h 2339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1924" h="2339306">
                      <a:moveTo>
                        <a:pt x="0" y="0"/>
                      </a:moveTo>
                      <a:lnTo>
                        <a:pt x="208497" y="0"/>
                      </a:lnTo>
                      <a:lnTo>
                        <a:pt x="316014" y="0"/>
                      </a:lnTo>
                      <a:lnTo>
                        <a:pt x="621924" y="0"/>
                      </a:lnTo>
                      <a:lnTo>
                        <a:pt x="621924" y="2339306"/>
                      </a:lnTo>
                      <a:lnTo>
                        <a:pt x="316014" y="2339306"/>
                      </a:lnTo>
                      <a:lnTo>
                        <a:pt x="208497" y="2339306"/>
                      </a:lnTo>
                      <a:lnTo>
                        <a:pt x="0" y="2339306"/>
                      </a:lnTo>
                      <a:close/>
                    </a:path>
                  </a:pathLst>
                </a:custGeom>
                <a:gradFill>
                  <a:gsLst>
                    <a:gs pos="58400">
                      <a:sysClr val="window" lastClr="FFFFFF">
                        <a:lumMod val="85000"/>
                      </a:sysClr>
                    </a:gs>
                    <a:gs pos="0">
                      <a:sysClr val="windowText" lastClr="000000">
                        <a:lumMod val="75000"/>
                        <a:lumOff val="25000"/>
                      </a:sysClr>
                    </a:gs>
                    <a:gs pos="100000">
                      <a:sysClr val="windowText" lastClr="000000">
                        <a:lumMod val="65000"/>
                        <a:lumOff val="35000"/>
                      </a:sysClr>
                    </a:gs>
                  </a:gsLst>
                  <a:lin ang="0" scaled="1"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" name="Freeform 135"/>
                <p:cNvSpPr/>
                <p:nvPr/>
              </p:nvSpPr>
              <p:spPr>
                <a:xfrm>
                  <a:off x="7192428" y="6547610"/>
                  <a:ext cx="621924" cy="122131"/>
                </a:xfrm>
                <a:custGeom>
                  <a:avLst/>
                  <a:gdLst>
                    <a:gd name="connsiteX0" fmla="*/ 0 w 621924"/>
                    <a:gd name="connsiteY0" fmla="*/ 0 h 122131"/>
                    <a:gd name="connsiteX1" fmla="*/ 251360 w 621924"/>
                    <a:gd name="connsiteY1" fmla="*/ 0 h 122131"/>
                    <a:gd name="connsiteX2" fmla="*/ 316014 w 621924"/>
                    <a:gd name="connsiteY2" fmla="*/ 0 h 122131"/>
                    <a:gd name="connsiteX3" fmla="*/ 621924 w 621924"/>
                    <a:gd name="connsiteY3" fmla="*/ 0 h 122131"/>
                    <a:gd name="connsiteX4" fmla="*/ 621924 w 621924"/>
                    <a:gd name="connsiteY4" fmla="*/ 122131 h 122131"/>
                    <a:gd name="connsiteX5" fmla="*/ 316014 w 621924"/>
                    <a:gd name="connsiteY5" fmla="*/ 122131 h 122131"/>
                    <a:gd name="connsiteX6" fmla="*/ 251360 w 621924"/>
                    <a:gd name="connsiteY6" fmla="*/ 122131 h 122131"/>
                    <a:gd name="connsiteX7" fmla="*/ 0 w 621924"/>
                    <a:gd name="connsiteY7" fmla="*/ 122131 h 122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1924" h="122131">
                      <a:moveTo>
                        <a:pt x="0" y="0"/>
                      </a:moveTo>
                      <a:lnTo>
                        <a:pt x="251360" y="0"/>
                      </a:lnTo>
                      <a:lnTo>
                        <a:pt x="316014" y="0"/>
                      </a:lnTo>
                      <a:lnTo>
                        <a:pt x="621924" y="0"/>
                      </a:lnTo>
                      <a:lnTo>
                        <a:pt x="621924" y="122131"/>
                      </a:lnTo>
                      <a:lnTo>
                        <a:pt x="316014" y="122131"/>
                      </a:lnTo>
                      <a:lnTo>
                        <a:pt x="251360" y="122131"/>
                      </a:lnTo>
                      <a:lnTo>
                        <a:pt x="0" y="122131"/>
                      </a:lnTo>
                      <a:close/>
                    </a:path>
                  </a:pathLst>
                </a:custGeom>
                <a:solidFill>
                  <a:sysClr val="windowText" lastClr="000000">
                    <a:lumMod val="75000"/>
                    <a:lumOff val="25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Freeform 136"/>
                <p:cNvSpPr/>
                <p:nvPr/>
              </p:nvSpPr>
              <p:spPr>
                <a:xfrm>
                  <a:off x="7192427" y="4104922"/>
                  <a:ext cx="621924" cy="122131"/>
                </a:xfrm>
                <a:custGeom>
                  <a:avLst/>
                  <a:gdLst>
                    <a:gd name="connsiteX0" fmla="*/ 0 w 621924"/>
                    <a:gd name="connsiteY0" fmla="*/ 0 h 122131"/>
                    <a:gd name="connsiteX1" fmla="*/ 208497 w 621924"/>
                    <a:gd name="connsiteY1" fmla="*/ 0 h 122131"/>
                    <a:gd name="connsiteX2" fmla="*/ 316014 w 621924"/>
                    <a:gd name="connsiteY2" fmla="*/ 0 h 122131"/>
                    <a:gd name="connsiteX3" fmla="*/ 621924 w 621924"/>
                    <a:gd name="connsiteY3" fmla="*/ 0 h 122131"/>
                    <a:gd name="connsiteX4" fmla="*/ 621924 w 621924"/>
                    <a:gd name="connsiteY4" fmla="*/ 122131 h 122131"/>
                    <a:gd name="connsiteX5" fmla="*/ 316014 w 621924"/>
                    <a:gd name="connsiteY5" fmla="*/ 122131 h 122131"/>
                    <a:gd name="connsiteX6" fmla="*/ 208497 w 621924"/>
                    <a:gd name="connsiteY6" fmla="*/ 122131 h 122131"/>
                    <a:gd name="connsiteX7" fmla="*/ 0 w 621924"/>
                    <a:gd name="connsiteY7" fmla="*/ 122131 h 122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1924" h="122131">
                      <a:moveTo>
                        <a:pt x="0" y="0"/>
                      </a:moveTo>
                      <a:lnTo>
                        <a:pt x="208497" y="0"/>
                      </a:lnTo>
                      <a:lnTo>
                        <a:pt x="316014" y="0"/>
                      </a:lnTo>
                      <a:lnTo>
                        <a:pt x="621924" y="0"/>
                      </a:lnTo>
                      <a:lnTo>
                        <a:pt x="621924" y="122131"/>
                      </a:lnTo>
                      <a:lnTo>
                        <a:pt x="316014" y="122131"/>
                      </a:lnTo>
                      <a:lnTo>
                        <a:pt x="208497" y="122131"/>
                      </a:lnTo>
                      <a:lnTo>
                        <a:pt x="0" y="122131"/>
                      </a:lnTo>
                      <a:close/>
                    </a:path>
                  </a:pathLst>
                </a:custGeom>
                <a:solidFill>
                  <a:sysClr val="windowText" lastClr="000000">
                    <a:lumMod val="75000"/>
                    <a:lumOff val="25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01" name="Group 100"/>
              <p:cNvGrpSpPr/>
              <p:nvPr/>
            </p:nvGrpSpPr>
            <p:grpSpPr>
              <a:xfrm>
                <a:off x="1324218" y="1510405"/>
                <a:ext cx="2672954" cy="2670655"/>
                <a:chOff x="1324218" y="1510405"/>
                <a:chExt cx="2672954" cy="2670655"/>
              </a:xfrm>
            </p:grpSpPr>
            <p:grpSp>
              <p:nvGrpSpPr>
                <p:cNvPr id="102" name="Group 101"/>
                <p:cNvGrpSpPr/>
                <p:nvPr/>
              </p:nvGrpSpPr>
              <p:grpSpPr>
                <a:xfrm>
                  <a:off x="1985869" y="2007245"/>
                  <a:ext cx="1357956" cy="615406"/>
                  <a:chOff x="1985868" y="2007245"/>
                  <a:chExt cx="1357956" cy="615406"/>
                </a:xfrm>
              </p:grpSpPr>
              <p:grpSp>
                <p:nvGrpSpPr>
                  <p:cNvPr id="104" name="Group 103"/>
                  <p:cNvGrpSpPr/>
                  <p:nvPr/>
                </p:nvGrpSpPr>
                <p:grpSpPr>
                  <a:xfrm flipH="1">
                    <a:off x="3258007" y="2431814"/>
                    <a:ext cx="85817" cy="190837"/>
                    <a:chOff x="3070472" y="2308023"/>
                    <a:chExt cx="1885452" cy="4192797"/>
                  </a:xfrm>
                  <a:solidFill>
                    <a:sysClr val="window" lastClr="FFFFFF"/>
                  </a:solidFill>
                </p:grpSpPr>
                <p:sp>
                  <p:nvSpPr>
                    <p:cNvPr id="129" name="Freeform 128"/>
                    <p:cNvSpPr/>
                    <p:nvPr/>
                  </p:nvSpPr>
                  <p:spPr>
                    <a:xfrm>
                      <a:off x="3539105" y="6167790"/>
                      <a:ext cx="948187" cy="333030"/>
                    </a:xfrm>
                    <a:custGeom>
                      <a:avLst/>
                      <a:gdLst>
                        <a:gd name="connsiteX0" fmla="*/ 14342 w 948184"/>
                        <a:gd name="connsiteY0" fmla="*/ 0 h 333033"/>
                        <a:gd name="connsiteX1" fmla="*/ 933842 w 948184"/>
                        <a:gd name="connsiteY1" fmla="*/ 0 h 333033"/>
                        <a:gd name="connsiteX2" fmla="*/ 948184 w 948184"/>
                        <a:gd name="connsiteY2" fmla="*/ 71038 h 333033"/>
                        <a:gd name="connsiteX3" fmla="*/ 948184 w 948184"/>
                        <a:gd name="connsiteY3" fmla="*/ 86448 h 333033"/>
                        <a:gd name="connsiteX4" fmla="*/ 701599 w 948184"/>
                        <a:gd name="connsiteY4" fmla="*/ 333033 h 333033"/>
                        <a:gd name="connsiteX5" fmla="*/ 246585 w 948184"/>
                        <a:gd name="connsiteY5" fmla="*/ 333033 h 333033"/>
                        <a:gd name="connsiteX6" fmla="*/ 0 w 948184"/>
                        <a:gd name="connsiteY6" fmla="*/ 86448 h 333033"/>
                        <a:gd name="connsiteX7" fmla="*/ 0 w 948184"/>
                        <a:gd name="connsiteY7" fmla="*/ 71038 h 3330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948184" h="333033">
                          <a:moveTo>
                            <a:pt x="14342" y="0"/>
                          </a:moveTo>
                          <a:lnTo>
                            <a:pt x="933842" y="0"/>
                          </a:lnTo>
                          <a:lnTo>
                            <a:pt x="948184" y="71038"/>
                          </a:lnTo>
                          <a:lnTo>
                            <a:pt x="948184" y="86448"/>
                          </a:lnTo>
                          <a:cubicBezTo>
                            <a:pt x="948184" y="222633"/>
                            <a:pt x="837784" y="333033"/>
                            <a:pt x="701599" y="333033"/>
                          </a:cubicBezTo>
                          <a:lnTo>
                            <a:pt x="246585" y="333033"/>
                          </a:lnTo>
                          <a:cubicBezTo>
                            <a:pt x="110400" y="333033"/>
                            <a:pt x="0" y="222633"/>
                            <a:pt x="0" y="86448"/>
                          </a:cubicBezTo>
                          <a:lnTo>
                            <a:pt x="0" y="71038"/>
                          </a:lnTo>
                          <a:close/>
                        </a:path>
                      </a:pathLst>
                    </a:custGeom>
                    <a:grpFill/>
                    <a:ln w="127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wrap="square" rtlCol="0" anchor="ctr"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" name="Freeform 129"/>
                    <p:cNvSpPr>
                      <a:spLocks/>
                    </p:cNvSpPr>
                    <p:nvPr/>
                  </p:nvSpPr>
                  <p:spPr bwMode="auto">
                    <a:xfrm>
                      <a:off x="4117259" y="2308023"/>
                      <a:ext cx="207544" cy="2351938"/>
                    </a:xfrm>
                    <a:custGeom>
                      <a:avLst/>
                      <a:gdLst>
                        <a:gd name="connsiteX0" fmla="*/ 103773 w 207546"/>
                        <a:gd name="connsiteY0" fmla="*/ 0 h 2351935"/>
                        <a:gd name="connsiteX1" fmla="*/ 207546 w 207546"/>
                        <a:gd name="connsiteY1" fmla="*/ 103773 h 2351935"/>
                        <a:gd name="connsiteX2" fmla="*/ 207546 w 207546"/>
                        <a:gd name="connsiteY2" fmla="*/ 2351935 h 2351935"/>
                        <a:gd name="connsiteX3" fmla="*/ 0 w 207546"/>
                        <a:gd name="connsiteY3" fmla="*/ 2351935 h 2351935"/>
                        <a:gd name="connsiteX4" fmla="*/ 0 w 207546"/>
                        <a:gd name="connsiteY4" fmla="*/ 103773 h 2351935"/>
                        <a:gd name="connsiteX5" fmla="*/ 103773 w 207546"/>
                        <a:gd name="connsiteY5" fmla="*/ 0 h 23519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07546" h="2351935">
                          <a:moveTo>
                            <a:pt x="103773" y="0"/>
                          </a:moveTo>
                          <a:cubicBezTo>
                            <a:pt x="161087" y="0"/>
                            <a:pt x="207546" y="46459"/>
                            <a:pt x="207546" y="103773"/>
                          </a:cubicBezTo>
                          <a:lnTo>
                            <a:pt x="207546" y="2351935"/>
                          </a:lnTo>
                          <a:lnTo>
                            <a:pt x="0" y="2351935"/>
                          </a:lnTo>
                          <a:lnTo>
                            <a:pt x="0" y="103773"/>
                          </a:lnTo>
                          <a:cubicBezTo>
                            <a:pt x="0" y="46459"/>
                            <a:pt x="46459" y="0"/>
                            <a:pt x="103773" y="0"/>
                          </a:cubicBez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  <a:effec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" name="Rounded Rectangle 130"/>
                    <p:cNvSpPr/>
                    <p:nvPr/>
                  </p:nvSpPr>
                  <p:spPr>
                    <a:xfrm>
                      <a:off x="3070472" y="5224410"/>
                      <a:ext cx="1885452" cy="404848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 w="127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2" name="Rounded Rectangle 131"/>
                    <p:cNvSpPr/>
                    <p:nvPr/>
                  </p:nvSpPr>
                  <p:spPr>
                    <a:xfrm>
                      <a:off x="3070472" y="5696095"/>
                      <a:ext cx="1885452" cy="404848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 w="127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3" name="Rounded Rectangle 132"/>
                    <p:cNvSpPr/>
                    <p:nvPr/>
                  </p:nvSpPr>
                  <p:spPr>
                    <a:xfrm>
                      <a:off x="3070472" y="4752725"/>
                      <a:ext cx="1885452" cy="404848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 w="127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05" name="Group 104"/>
                  <p:cNvGrpSpPr/>
                  <p:nvPr/>
                </p:nvGrpSpPr>
                <p:grpSpPr>
                  <a:xfrm>
                    <a:off x="1985868" y="2355879"/>
                    <a:ext cx="183066" cy="186757"/>
                    <a:chOff x="1144790" y="2287305"/>
                    <a:chExt cx="733679" cy="748469"/>
                  </a:xfrm>
                  <a:solidFill>
                    <a:sysClr val="window" lastClr="FFFFFF"/>
                  </a:solidFill>
                </p:grpSpPr>
                <p:grpSp>
                  <p:nvGrpSpPr>
                    <p:cNvPr id="111" name="Group 110"/>
                    <p:cNvGrpSpPr/>
                    <p:nvPr/>
                  </p:nvGrpSpPr>
                  <p:grpSpPr>
                    <a:xfrm>
                      <a:off x="1144790" y="2939255"/>
                      <a:ext cx="528164" cy="96519"/>
                      <a:chOff x="2903276" y="4247224"/>
                      <a:chExt cx="2858184" cy="522319"/>
                    </a:xfrm>
                    <a:grpFill/>
                  </p:grpSpPr>
                  <p:sp>
                    <p:nvSpPr>
                      <p:cNvPr id="127" name="Rectangle 126"/>
                      <p:cNvSpPr/>
                      <p:nvPr/>
                    </p:nvSpPr>
                    <p:spPr>
                      <a:xfrm rot="21060000">
                        <a:off x="2903276" y="4274280"/>
                        <a:ext cx="118385" cy="495263"/>
                      </a:xfrm>
                      <a:prstGeom prst="rect">
                        <a:avLst/>
                      </a:prstGeom>
                      <a:grpFill/>
                      <a:ln w="12700" cap="flat" cmpd="sng" algn="ctr">
                        <a:noFill/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  <a:lvl1pPr marL="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28" name="Rectangle 127"/>
                      <p:cNvSpPr/>
                      <p:nvPr/>
                    </p:nvSpPr>
                    <p:spPr>
                      <a:xfrm rot="540000" flipH="1">
                        <a:off x="5643076" y="4247224"/>
                        <a:ext cx="118384" cy="495259"/>
                      </a:xfrm>
                      <a:prstGeom prst="rect">
                        <a:avLst/>
                      </a:prstGeom>
                      <a:grpFill/>
                      <a:ln w="12700" cap="flat" cmpd="sng" algn="ctr">
                        <a:noFill/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  <a:lvl1pPr marL="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Arial" panose="020B0604020202020204" pitchFamily="34" charset="0"/>
                        </a:endParaRPr>
                      </a:p>
                    </p:txBody>
                  </p:sp>
                </p:grpSp>
                <p:grpSp>
                  <p:nvGrpSpPr>
                    <p:cNvPr id="112" name="Group 111"/>
                    <p:cNvGrpSpPr/>
                    <p:nvPr/>
                  </p:nvGrpSpPr>
                  <p:grpSpPr>
                    <a:xfrm>
                      <a:off x="1209294" y="2287305"/>
                      <a:ext cx="669175" cy="419548"/>
                      <a:chOff x="1209294" y="2287305"/>
                      <a:chExt cx="669175" cy="419548"/>
                    </a:xfrm>
                    <a:grpFill/>
                  </p:grpSpPr>
                  <p:grpSp>
                    <p:nvGrpSpPr>
                      <p:cNvPr id="113" name="Group 112"/>
                      <p:cNvGrpSpPr/>
                      <p:nvPr/>
                    </p:nvGrpSpPr>
                    <p:grpSpPr>
                      <a:xfrm>
                        <a:off x="1209294" y="2287305"/>
                        <a:ext cx="86708" cy="419548"/>
                        <a:chOff x="3252322" y="681841"/>
                        <a:chExt cx="469222" cy="2270409"/>
                      </a:xfrm>
                      <a:grpFill/>
                    </p:grpSpPr>
                    <p:grpSp>
                      <p:nvGrpSpPr>
                        <p:cNvPr id="121" name="Group 120"/>
                        <p:cNvGrpSpPr/>
                        <p:nvPr/>
                      </p:nvGrpSpPr>
                      <p:grpSpPr>
                        <a:xfrm>
                          <a:off x="3252322" y="681841"/>
                          <a:ext cx="469222" cy="625386"/>
                          <a:chOff x="3252322" y="668393"/>
                          <a:chExt cx="469222" cy="625386"/>
                        </a:xfrm>
                        <a:grpFill/>
                      </p:grpSpPr>
                      <p:sp>
                        <p:nvSpPr>
                          <p:cNvPr id="125" name="Rectangle 124"/>
                          <p:cNvSpPr/>
                          <p:nvPr/>
                        </p:nvSpPr>
                        <p:spPr>
                          <a:xfrm>
                            <a:off x="3375065" y="1031132"/>
                            <a:ext cx="223736" cy="262647"/>
                          </a:xfrm>
                          <a:prstGeom prst="rect">
                            <a:avLst/>
                          </a:prstGeom>
                          <a:grpFill/>
                          <a:ln w="12700" cap="flat" cmpd="sng" algn="ctr">
                            <a:noFill/>
                            <a:prstDash val="solid"/>
                            <a:miter lim="800000"/>
                          </a:ln>
                          <a:effectLst/>
                        </p:spPr>
                        <p:txBody>
                          <a:bodyPr rtlCol="0" anchor="ctr"/>
                          <a:lstStyle>
                            <a:defPPr>
                              <a:defRPr lang="en-US"/>
                            </a:defPPr>
                            <a:lvl1pPr marL="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1pPr>
                            <a:lvl2pPr marL="457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2pPr>
                            <a:lvl3pPr marL="914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3pPr>
                            <a:lvl4pPr marL="1371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4pPr>
                            <a:lvl5pPr marL="18288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5pPr>
                            <a:lvl6pPr marL="22860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6pPr>
                            <a:lvl7pPr marL="2743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7pPr>
                            <a:lvl8pPr marL="3200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8pPr>
                            <a:lvl9pPr marL="3657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9pPr>
                          </a:lstStyle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US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26" name="Oval 125"/>
                          <p:cNvSpPr/>
                          <p:nvPr/>
                        </p:nvSpPr>
                        <p:spPr>
                          <a:xfrm>
                            <a:off x="3252322" y="668393"/>
                            <a:ext cx="469222" cy="469222"/>
                          </a:xfrm>
                          <a:prstGeom prst="ellipse">
                            <a:avLst/>
                          </a:prstGeom>
                          <a:grpFill/>
                          <a:ln w="12700" cap="flat" cmpd="sng" algn="ctr">
                            <a:noFill/>
                            <a:prstDash val="solid"/>
                            <a:miter lim="800000"/>
                          </a:ln>
                          <a:effectLst/>
                        </p:spPr>
                        <p:txBody>
                          <a:bodyPr rtlCol="0" anchor="ctr"/>
                          <a:lstStyle>
                            <a:defPPr>
                              <a:defRPr lang="en-US"/>
                            </a:defPPr>
                            <a:lvl1pPr marL="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1pPr>
                            <a:lvl2pPr marL="457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2pPr>
                            <a:lvl3pPr marL="914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3pPr>
                            <a:lvl4pPr marL="1371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4pPr>
                            <a:lvl5pPr marL="18288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5pPr>
                            <a:lvl6pPr marL="22860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6pPr>
                            <a:lvl7pPr marL="2743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7pPr>
                            <a:lvl8pPr marL="3200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8pPr>
                            <a:lvl9pPr marL="3657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9pPr>
                          </a:lstStyle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US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122" name="Group 121"/>
                        <p:cNvGrpSpPr/>
                        <p:nvPr/>
                      </p:nvGrpSpPr>
                      <p:grpSpPr>
                        <a:xfrm flipH="1" flipV="1">
                          <a:off x="3252322" y="2326864"/>
                          <a:ext cx="469222" cy="625386"/>
                          <a:chOff x="3252322" y="668393"/>
                          <a:chExt cx="469222" cy="625386"/>
                        </a:xfrm>
                        <a:grpFill/>
                      </p:grpSpPr>
                      <p:sp>
                        <p:nvSpPr>
                          <p:cNvPr id="123" name="Rectangle 122"/>
                          <p:cNvSpPr/>
                          <p:nvPr/>
                        </p:nvSpPr>
                        <p:spPr>
                          <a:xfrm>
                            <a:off x="3375065" y="1031132"/>
                            <a:ext cx="223736" cy="262647"/>
                          </a:xfrm>
                          <a:prstGeom prst="rect">
                            <a:avLst/>
                          </a:prstGeom>
                          <a:grpFill/>
                          <a:ln w="12700" cap="flat" cmpd="sng" algn="ctr">
                            <a:noFill/>
                            <a:prstDash val="solid"/>
                            <a:miter lim="800000"/>
                          </a:ln>
                          <a:effectLst/>
                        </p:spPr>
                        <p:txBody>
                          <a:bodyPr rtlCol="0" anchor="ctr"/>
                          <a:lstStyle>
                            <a:defPPr>
                              <a:defRPr lang="en-US"/>
                            </a:defPPr>
                            <a:lvl1pPr marL="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1pPr>
                            <a:lvl2pPr marL="457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2pPr>
                            <a:lvl3pPr marL="914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3pPr>
                            <a:lvl4pPr marL="1371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4pPr>
                            <a:lvl5pPr marL="18288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5pPr>
                            <a:lvl6pPr marL="22860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6pPr>
                            <a:lvl7pPr marL="2743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7pPr>
                            <a:lvl8pPr marL="3200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8pPr>
                            <a:lvl9pPr marL="3657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9pPr>
                          </a:lstStyle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US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24" name="Oval 123"/>
                          <p:cNvSpPr/>
                          <p:nvPr/>
                        </p:nvSpPr>
                        <p:spPr>
                          <a:xfrm>
                            <a:off x="3252322" y="668393"/>
                            <a:ext cx="469222" cy="469222"/>
                          </a:xfrm>
                          <a:prstGeom prst="ellipse">
                            <a:avLst/>
                          </a:prstGeom>
                          <a:grpFill/>
                          <a:ln w="12700" cap="flat" cmpd="sng" algn="ctr">
                            <a:noFill/>
                            <a:prstDash val="solid"/>
                            <a:miter lim="800000"/>
                          </a:ln>
                          <a:effectLst/>
                        </p:spPr>
                        <p:txBody>
                          <a:bodyPr rtlCol="0" anchor="ctr"/>
                          <a:lstStyle>
                            <a:defPPr>
                              <a:defRPr lang="en-US"/>
                            </a:defPPr>
                            <a:lvl1pPr marL="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1pPr>
                            <a:lvl2pPr marL="457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2pPr>
                            <a:lvl3pPr marL="914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3pPr>
                            <a:lvl4pPr marL="1371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4pPr>
                            <a:lvl5pPr marL="18288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5pPr>
                            <a:lvl6pPr marL="22860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6pPr>
                            <a:lvl7pPr marL="2743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7pPr>
                            <a:lvl8pPr marL="3200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8pPr>
                            <a:lvl9pPr marL="3657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9pPr>
                          </a:lstStyle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US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</p:grpSp>
                  </p:grpSp>
                  <p:grpSp>
                    <p:nvGrpSpPr>
                      <p:cNvPr id="114" name="Group 113"/>
                      <p:cNvGrpSpPr/>
                      <p:nvPr/>
                    </p:nvGrpSpPr>
                    <p:grpSpPr>
                      <a:xfrm>
                        <a:off x="1429067" y="2453729"/>
                        <a:ext cx="449402" cy="86708"/>
                        <a:chOff x="3909939" y="1581287"/>
                        <a:chExt cx="2431966" cy="469222"/>
                      </a:xfrm>
                      <a:grpFill/>
                    </p:grpSpPr>
                    <p:grpSp>
                      <p:nvGrpSpPr>
                        <p:cNvPr id="115" name="Group 114"/>
                        <p:cNvGrpSpPr/>
                        <p:nvPr/>
                      </p:nvGrpSpPr>
                      <p:grpSpPr>
                        <a:xfrm rot="5400000" flipH="1" flipV="1">
                          <a:off x="3988021" y="1503205"/>
                          <a:ext cx="469222" cy="625386"/>
                          <a:chOff x="3252322" y="668393"/>
                          <a:chExt cx="469222" cy="625386"/>
                        </a:xfrm>
                        <a:grpFill/>
                      </p:grpSpPr>
                      <p:sp>
                        <p:nvSpPr>
                          <p:cNvPr id="119" name="Rectangle 118"/>
                          <p:cNvSpPr/>
                          <p:nvPr/>
                        </p:nvSpPr>
                        <p:spPr>
                          <a:xfrm>
                            <a:off x="3375065" y="1031132"/>
                            <a:ext cx="223736" cy="262647"/>
                          </a:xfrm>
                          <a:prstGeom prst="rect">
                            <a:avLst/>
                          </a:prstGeom>
                          <a:grpFill/>
                          <a:ln w="12700" cap="flat" cmpd="sng" algn="ctr">
                            <a:noFill/>
                            <a:prstDash val="solid"/>
                            <a:miter lim="800000"/>
                          </a:ln>
                          <a:effectLst/>
                        </p:spPr>
                        <p:txBody>
                          <a:bodyPr rtlCol="0" anchor="ctr"/>
                          <a:lstStyle>
                            <a:defPPr>
                              <a:defRPr lang="en-US"/>
                            </a:defPPr>
                            <a:lvl1pPr marL="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1pPr>
                            <a:lvl2pPr marL="457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2pPr>
                            <a:lvl3pPr marL="914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3pPr>
                            <a:lvl4pPr marL="1371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4pPr>
                            <a:lvl5pPr marL="18288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5pPr>
                            <a:lvl6pPr marL="22860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6pPr>
                            <a:lvl7pPr marL="2743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7pPr>
                            <a:lvl8pPr marL="3200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8pPr>
                            <a:lvl9pPr marL="3657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9pPr>
                          </a:lstStyle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US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20" name="Oval 119"/>
                          <p:cNvSpPr/>
                          <p:nvPr/>
                        </p:nvSpPr>
                        <p:spPr>
                          <a:xfrm>
                            <a:off x="3252322" y="668393"/>
                            <a:ext cx="469222" cy="469222"/>
                          </a:xfrm>
                          <a:prstGeom prst="ellipse">
                            <a:avLst/>
                          </a:prstGeom>
                          <a:grpFill/>
                          <a:ln w="12700" cap="flat" cmpd="sng" algn="ctr">
                            <a:noFill/>
                            <a:prstDash val="solid"/>
                            <a:miter lim="800000"/>
                          </a:ln>
                          <a:effectLst/>
                        </p:spPr>
                        <p:txBody>
                          <a:bodyPr rtlCol="0" anchor="ctr"/>
                          <a:lstStyle>
                            <a:defPPr>
                              <a:defRPr lang="en-US"/>
                            </a:defPPr>
                            <a:lvl1pPr marL="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1pPr>
                            <a:lvl2pPr marL="457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2pPr>
                            <a:lvl3pPr marL="914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3pPr>
                            <a:lvl4pPr marL="1371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4pPr>
                            <a:lvl5pPr marL="18288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5pPr>
                            <a:lvl6pPr marL="22860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6pPr>
                            <a:lvl7pPr marL="2743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7pPr>
                            <a:lvl8pPr marL="3200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8pPr>
                            <a:lvl9pPr marL="3657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9pPr>
                          </a:lstStyle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US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116" name="Group 115"/>
                        <p:cNvGrpSpPr/>
                        <p:nvPr/>
                      </p:nvGrpSpPr>
                      <p:grpSpPr>
                        <a:xfrm rot="16200000" flipV="1">
                          <a:off x="5794601" y="1503205"/>
                          <a:ext cx="469222" cy="625386"/>
                          <a:chOff x="3252322" y="668393"/>
                          <a:chExt cx="469222" cy="625386"/>
                        </a:xfrm>
                        <a:grpFill/>
                      </p:grpSpPr>
                      <p:sp>
                        <p:nvSpPr>
                          <p:cNvPr id="117" name="Rectangle 116"/>
                          <p:cNvSpPr/>
                          <p:nvPr/>
                        </p:nvSpPr>
                        <p:spPr>
                          <a:xfrm>
                            <a:off x="3375065" y="1031132"/>
                            <a:ext cx="223736" cy="262647"/>
                          </a:xfrm>
                          <a:prstGeom prst="rect">
                            <a:avLst/>
                          </a:prstGeom>
                          <a:grpFill/>
                          <a:ln w="12700" cap="flat" cmpd="sng" algn="ctr">
                            <a:noFill/>
                            <a:prstDash val="solid"/>
                            <a:miter lim="800000"/>
                          </a:ln>
                          <a:effectLst/>
                        </p:spPr>
                        <p:txBody>
                          <a:bodyPr rtlCol="0" anchor="ctr"/>
                          <a:lstStyle>
                            <a:defPPr>
                              <a:defRPr lang="en-US"/>
                            </a:defPPr>
                            <a:lvl1pPr marL="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1pPr>
                            <a:lvl2pPr marL="457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2pPr>
                            <a:lvl3pPr marL="914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3pPr>
                            <a:lvl4pPr marL="1371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4pPr>
                            <a:lvl5pPr marL="18288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5pPr>
                            <a:lvl6pPr marL="22860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6pPr>
                            <a:lvl7pPr marL="2743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7pPr>
                            <a:lvl8pPr marL="3200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8pPr>
                            <a:lvl9pPr marL="3657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9pPr>
                          </a:lstStyle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US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18" name="Oval 117"/>
                          <p:cNvSpPr/>
                          <p:nvPr/>
                        </p:nvSpPr>
                        <p:spPr>
                          <a:xfrm>
                            <a:off x="3252322" y="668393"/>
                            <a:ext cx="469222" cy="469222"/>
                          </a:xfrm>
                          <a:prstGeom prst="ellipse">
                            <a:avLst/>
                          </a:prstGeom>
                          <a:grpFill/>
                          <a:ln w="12700" cap="flat" cmpd="sng" algn="ctr">
                            <a:noFill/>
                            <a:prstDash val="solid"/>
                            <a:miter lim="800000"/>
                          </a:ln>
                          <a:effectLst/>
                        </p:spPr>
                        <p:txBody>
                          <a:bodyPr rtlCol="0" anchor="ctr"/>
                          <a:lstStyle>
                            <a:defPPr>
                              <a:defRPr lang="en-US"/>
                            </a:defPPr>
                            <a:lvl1pPr marL="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1pPr>
                            <a:lvl2pPr marL="457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2pPr>
                            <a:lvl3pPr marL="914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3pPr>
                            <a:lvl4pPr marL="1371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4pPr>
                            <a:lvl5pPr marL="18288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5pPr>
                            <a:lvl6pPr marL="22860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6pPr>
                            <a:lvl7pPr marL="27432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7pPr>
                            <a:lvl8pPr marL="32004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8pPr>
                            <a:lvl9pPr marL="3657600" algn="l" defTabSz="914400" rtl="0" eaLnBrk="1" latinLnBrk="0" hangingPunct="1">
                              <a:defRPr sz="1800" kern="1200">
                                <a:solidFill>
                                  <a:schemeClr val="lt1"/>
                                </a:solidFill>
                                <a:latin typeface="+mn-lt"/>
                                <a:ea typeface="+mn-ea"/>
                                <a:cs typeface="+mn-cs"/>
                              </a:defRPr>
                            </a:lvl9pPr>
                          </a:lstStyle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US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</p:grpSp>
                  </p:grpSp>
                </p:grpSp>
              </p:grpSp>
              <p:grpSp>
                <p:nvGrpSpPr>
                  <p:cNvPr id="106" name="Group 105"/>
                  <p:cNvGrpSpPr/>
                  <p:nvPr/>
                </p:nvGrpSpPr>
                <p:grpSpPr>
                  <a:xfrm>
                    <a:off x="2559845" y="2007245"/>
                    <a:ext cx="137356" cy="206940"/>
                    <a:chOff x="3726654" y="2710712"/>
                    <a:chExt cx="908252" cy="1368369"/>
                  </a:xfrm>
                  <a:solidFill>
                    <a:srgbClr val="FFFFFF"/>
                  </a:solidFill>
                </p:grpSpPr>
                <p:sp>
                  <p:nvSpPr>
                    <p:cNvPr id="107" name="Freeform 106"/>
                    <p:cNvSpPr/>
                    <p:nvPr/>
                  </p:nvSpPr>
                  <p:spPr>
                    <a:xfrm>
                      <a:off x="3726654" y="3698521"/>
                      <a:ext cx="292895" cy="380560"/>
                    </a:xfrm>
                    <a:custGeom>
                      <a:avLst/>
                      <a:gdLst>
                        <a:gd name="connsiteX0" fmla="*/ 68582 w 292896"/>
                        <a:gd name="connsiteY0" fmla="*/ 0 h 380562"/>
                        <a:gd name="connsiteX1" fmla="*/ 224314 w 292896"/>
                        <a:gd name="connsiteY1" fmla="*/ 0 h 380562"/>
                        <a:gd name="connsiteX2" fmla="*/ 292896 w 292896"/>
                        <a:gd name="connsiteY2" fmla="*/ 68582 h 380562"/>
                        <a:gd name="connsiteX3" fmla="*/ 292896 w 292896"/>
                        <a:gd name="connsiteY3" fmla="*/ 380562 h 380562"/>
                        <a:gd name="connsiteX4" fmla="*/ 0 w 292896"/>
                        <a:gd name="connsiteY4" fmla="*/ 380562 h 380562"/>
                        <a:gd name="connsiteX5" fmla="*/ 0 w 292896"/>
                        <a:gd name="connsiteY5" fmla="*/ 68582 h 380562"/>
                        <a:gd name="connsiteX6" fmla="*/ 68582 w 292896"/>
                        <a:gd name="connsiteY6" fmla="*/ 0 h 3805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92896" h="380562">
                          <a:moveTo>
                            <a:pt x="68582" y="0"/>
                          </a:moveTo>
                          <a:lnTo>
                            <a:pt x="224314" y="0"/>
                          </a:lnTo>
                          <a:cubicBezTo>
                            <a:pt x="262191" y="0"/>
                            <a:pt x="292896" y="30705"/>
                            <a:pt x="292896" y="68582"/>
                          </a:cubicBezTo>
                          <a:lnTo>
                            <a:pt x="292896" y="380562"/>
                          </a:lnTo>
                          <a:lnTo>
                            <a:pt x="0" y="380562"/>
                          </a:lnTo>
                          <a:lnTo>
                            <a:pt x="0" y="68582"/>
                          </a:lnTo>
                          <a:cubicBezTo>
                            <a:pt x="0" y="30705"/>
                            <a:pt x="30705" y="0"/>
                            <a:pt x="68582" y="0"/>
                          </a:cubicBezTo>
                          <a:close/>
                        </a:path>
                      </a:pathLst>
                    </a:custGeom>
                    <a:grpFill/>
                    <a:ln w="127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108" name="Group 107"/>
                    <p:cNvGrpSpPr/>
                    <p:nvPr/>
                  </p:nvGrpSpPr>
                  <p:grpSpPr>
                    <a:xfrm>
                      <a:off x="4127984" y="2710712"/>
                      <a:ext cx="506922" cy="342049"/>
                      <a:chOff x="4127984" y="2710712"/>
                      <a:chExt cx="506922" cy="342049"/>
                    </a:xfrm>
                    <a:grpFill/>
                  </p:grpSpPr>
                  <p:sp>
                    <p:nvSpPr>
                      <p:cNvPr id="109" name="Freeform 108"/>
                      <p:cNvSpPr/>
                      <p:nvPr/>
                    </p:nvSpPr>
                    <p:spPr>
                      <a:xfrm rot="5400000">
                        <a:off x="4287140" y="2704995"/>
                        <a:ext cx="342049" cy="353483"/>
                      </a:xfrm>
                      <a:custGeom>
                        <a:avLst/>
                        <a:gdLst>
                          <a:gd name="connsiteX0" fmla="*/ 20199 w 413539"/>
                          <a:gd name="connsiteY0" fmla="*/ 0 h 369065"/>
                          <a:gd name="connsiteX1" fmla="*/ 413539 w 413539"/>
                          <a:gd name="connsiteY1" fmla="*/ 0 h 369065"/>
                          <a:gd name="connsiteX2" fmla="*/ 31504 w 413539"/>
                          <a:gd name="connsiteY2" fmla="*/ 369065 h 369065"/>
                          <a:gd name="connsiteX3" fmla="*/ 20199 w 413539"/>
                          <a:gd name="connsiteY3" fmla="*/ 369065 h 369065"/>
                          <a:gd name="connsiteX4" fmla="*/ 0 w 413539"/>
                          <a:gd name="connsiteY4" fmla="*/ 348866 h 369065"/>
                          <a:gd name="connsiteX5" fmla="*/ 0 w 413539"/>
                          <a:gd name="connsiteY5" fmla="*/ 20199 h 369065"/>
                          <a:gd name="connsiteX6" fmla="*/ 20199 w 413539"/>
                          <a:gd name="connsiteY6" fmla="*/ 0 h 369065"/>
                          <a:gd name="connsiteX0" fmla="*/ 20199 w 377820"/>
                          <a:gd name="connsiteY0" fmla="*/ 0 h 369065"/>
                          <a:gd name="connsiteX1" fmla="*/ 377820 w 377820"/>
                          <a:gd name="connsiteY1" fmla="*/ 28575 h 369065"/>
                          <a:gd name="connsiteX2" fmla="*/ 31504 w 377820"/>
                          <a:gd name="connsiteY2" fmla="*/ 369065 h 369065"/>
                          <a:gd name="connsiteX3" fmla="*/ 20199 w 377820"/>
                          <a:gd name="connsiteY3" fmla="*/ 369065 h 369065"/>
                          <a:gd name="connsiteX4" fmla="*/ 0 w 377820"/>
                          <a:gd name="connsiteY4" fmla="*/ 348866 h 369065"/>
                          <a:gd name="connsiteX5" fmla="*/ 0 w 377820"/>
                          <a:gd name="connsiteY5" fmla="*/ 20199 h 369065"/>
                          <a:gd name="connsiteX6" fmla="*/ 20199 w 377820"/>
                          <a:gd name="connsiteY6" fmla="*/ 0 h 369065"/>
                          <a:gd name="connsiteX0" fmla="*/ 20199 w 363532"/>
                          <a:gd name="connsiteY0" fmla="*/ 4763 h 373828"/>
                          <a:gd name="connsiteX1" fmla="*/ 363532 w 363532"/>
                          <a:gd name="connsiteY1" fmla="*/ 0 h 373828"/>
                          <a:gd name="connsiteX2" fmla="*/ 31504 w 363532"/>
                          <a:gd name="connsiteY2" fmla="*/ 373828 h 373828"/>
                          <a:gd name="connsiteX3" fmla="*/ 20199 w 363532"/>
                          <a:gd name="connsiteY3" fmla="*/ 373828 h 373828"/>
                          <a:gd name="connsiteX4" fmla="*/ 0 w 363532"/>
                          <a:gd name="connsiteY4" fmla="*/ 353629 h 373828"/>
                          <a:gd name="connsiteX5" fmla="*/ 0 w 363532"/>
                          <a:gd name="connsiteY5" fmla="*/ 24962 h 373828"/>
                          <a:gd name="connsiteX6" fmla="*/ 20199 w 363532"/>
                          <a:gd name="connsiteY6" fmla="*/ 4763 h 373828"/>
                          <a:gd name="connsiteX0" fmla="*/ 20199 w 363532"/>
                          <a:gd name="connsiteY0" fmla="*/ 0 h 369065"/>
                          <a:gd name="connsiteX1" fmla="*/ 363532 w 363532"/>
                          <a:gd name="connsiteY1" fmla="*/ 0 h 369065"/>
                          <a:gd name="connsiteX2" fmla="*/ 31504 w 363532"/>
                          <a:gd name="connsiteY2" fmla="*/ 369065 h 369065"/>
                          <a:gd name="connsiteX3" fmla="*/ 20199 w 363532"/>
                          <a:gd name="connsiteY3" fmla="*/ 369065 h 369065"/>
                          <a:gd name="connsiteX4" fmla="*/ 0 w 363532"/>
                          <a:gd name="connsiteY4" fmla="*/ 348866 h 369065"/>
                          <a:gd name="connsiteX5" fmla="*/ 0 w 363532"/>
                          <a:gd name="connsiteY5" fmla="*/ 20199 h 369065"/>
                          <a:gd name="connsiteX6" fmla="*/ 20199 w 363532"/>
                          <a:gd name="connsiteY6" fmla="*/ 0 h 369065"/>
                          <a:gd name="connsiteX0" fmla="*/ 20199 w 367933"/>
                          <a:gd name="connsiteY0" fmla="*/ 0 h 369065"/>
                          <a:gd name="connsiteX1" fmla="*/ 363532 w 367933"/>
                          <a:gd name="connsiteY1" fmla="*/ 0 h 369065"/>
                          <a:gd name="connsiteX2" fmla="*/ 363302 w 367933"/>
                          <a:gd name="connsiteY2" fmla="*/ 67884 h 369065"/>
                          <a:gd name="connsiteX3" fmla="*/ 31504 w 367933"/>
                          <a:gd name="connsiteY3" fmla="*/ 369065 h 369065"/>
                          <a:gd name="connsiteX4" fmla="*/ 20199 w 367933"/>
                          <a:gd name="connsiteY4" fmla="*/ 369065 h 369065"/>
                          <a:gd name="connsiteX5" fmla="*/ 0 w 367933"/>
                          <a:gd name="connsiteY5" fmla="*/ 348866 h 369065"/>
                          <a:gd name="connsiteX6" fmla="*/ 0 w 367933"/>
                          <a:gd name="connsiteY6" fmla="*/ 20199 h 369065"/>
                          <a:gd name="connsiteX7" fmla="*/ 20199 w 367933"/>
                          <a:gd name="connsiteY7" fmla="*/ 0 h 369065"/>
                          <a:gd name="connsiteX0" fmla="*/ 20199 w 374159"/>
                          <a:gd name="connsiteY0" fmla="*/ 0 h 369065"/>
                          <a:gd name="connsiteX1" fmla="*/ 363532 w 374159"/>
                          <a:gd name="connsiteY1" fmla="*/ 0 h 369065"/>
                          <a:gd name="connsiteX2" fmla="*/ 363302 w 374159"/>
                          <a:gd name="connsiteY2" fmla="*/ 67884 h 369065"/>
                          <a:gd name="connsiteX3" fmla="*/ 31504 w 374159"/>
                          <a:gd name="connsiteY3" fmla="*/ 369065 h 369065"/>
                          <a:gd name="connsiteX4" fmla="*/ 20199 w 374159"/>
                          <a:gd name="connsiteY4" fmla="*/ 369065 h 369065"/>
                          <a:gd name="connsiteX5" fmla="*/ 0 w 374159"/>
                          <a:gd name="connsiteY5" fmla="*/ 348866 h 369065"/>
                          <a:gd name="connsiteX6" fmla="*/ 0 w 374159"/>
                          <a:gd name="connsiteY6" fmla="*/ 20199 h 369065"/>
                          <a:gd name="connsiteX7" fmla="*/ 20199 w 374159"/>
                          <a:gd name="connsiteY7" fmla="*/ 0 h 369065"/>
                          <a:gd name="connsiteX0" fmla="*/ 20199 w 377064"/>
                          <a:gd name="connsiteY0" fmla="*/ 0 h 369065"/>
                          <a:gd name="connsiteX1" fmla="*/ 363532 w 377064"/>
                          <a:gd name="connsiteY1" fmla="*/ 0 h 369065"/>
                          <a:gd name="connsiteX2" fmla="*/ 363302 w 377064"/>
                          <a:gd name="connsiteY2" fmla="*/ 67884 h 369065"/>
                          <a:gd name="connsiteX3" fmla="*/ 31504 w 377064"/>
                          <a:gd name="connsiteY3" fmla="*/ 369065 h 369065"/>
                          <a:gd name="connsiteX4" fmla="*/ 20199 w 377064"/>
                          <a:gd name="connsiteY4" fmla="*/ 369065 h 369065"/>
                          <a:gd name="connsiteX5" fmla="*/ 0 w 377064"/>
                          <a:gd name="connsiteY5" fmla="*/ 348866 h 369065"/>
                          <a:gd name="connsiteX6" fmla="*/ 0 w 377064"/>
                          <a:gd name="connsiteY6" fmla="*/ 20199 h 369065"/>
                          <a:gd name="connsiteX7" fmla="*/ 20199 w 377064"/>
                          <a:gd name="connsiteY7" fmla="*/ 0 h 369065"/>
                          <a:gd name="connsiteX0" fmla="*/ 20199 w 377064"/>
                          <a:gd name="connsiteY0" fmla="*/ 0 h 369065"/>
                          <a:gd name="connsiteX1" fmla="*/ 363532 w 377064"/>
                          <a:gd name="connsiteY1" fmla="*/ 0 h 369065"/>
                          <a:gd name="connsiteX2" fmla="*/ 363302 w 377064"/>
                          <a:gd name="connsiteY2" fmla="*/ 67884 h 369065"/>
                          <a:gd name="connsiteX3" fmla="*/ 31504 w 377064"/>
                          <a:gd name="connsiteY3" fmla="*/ 369065 h 369065"/>
                          <a:gd name="connsiteX4" fmla="*/ 20199 w 377064"/>
                          <a:gd name="connsiteY4" fmla="*/ 369065 h 369065"/>
                          <a:gd name="connsiteX5" fmla="*/ 0 w 377064"/>
                          <a:gd name="connsiteY5" fmla="*/ 348866 h 369065"/>
                          <a:gd name="connsiteX6" fmla="*/ 0 w 377064"/>
                          <a:gd name="connsiteY6" fmla="*/ 20199 h 369065"/>
                          <a:gd name="connsiteX7" fmla="*/ 20199 w 377064"/>
                          <a:gd name="connsiteY7" fmla="*/ 0 h 369065"/>
                          <a:gd name="connsiteX0" fmla="*/ 20199 w 378540"/>
                          <a:gd name="connsiteY0" fmla="*/ 0 h 369065"/>
                          <a:gd name="connsiteX1" fmla="*/ 363532 w 378540"/>
                          <a:gd name="connsiteY1" fmla="*/ 0 h 369065"/>
                          <a:gd name="connsiteX2" fmla="*/ 365683 w 378540"/>
                          <a:gd name="connsiteY2" fmla="*/ 65503 h 369065"/>
                          <a:gd name="connsiteX3" fmla="*/ 31504 w 378540"/>
                          <a:gd name="connsiteY3" fmla="*/ 369065 h 369065"/>
                          <a:gd name="connsiteX4" fmla="*/ 20199 w 378540"/>
                          <a:gd name="connsiteY4" fmla="*/ 369065 h 369065"/>
                          <a:gd name="connsiteX5" fmla="*/ 0 w 378540"/>
                          <a:gd name="connsiteY5" fmla="*/ 348866 h 369065"/>
                          <a:gd name="connsiteX6" fmla="*/ 0 w 378540"/>
                          <a:gd name="connsiteY6" fmla="*/ 20199 h 369065"/>
                          <a:gd name="connsiteX7" fmla="*/ 20199 w 378540"/>
                          <a:gd name="connsiteY7" fmla="*/ 0 h 369065"/>
                          <a:gd name="connsiteX0" fmla="*/ 20199 w 380109"/>
                          <a:gd name="connsiteY0" fmla="*/ 0 h 369065"/>
                          <a:gd name="connsiteX1" fmla="*/ 363532 w 380109"/>
                          <a:gd name="connsiteY1" fmla="*/ 0 h 369065"/>
                          <a:gd name="connsiteX2" fmla="*/ 368064 w 380109"/>
                          <a:gd name="connsiteY2" fmla="*/ 53597 h 369065"/>
                          <a:gd name="connsiteX3" fmla="*/ 31504 w 380109"/>
                          <a:gd name="connsiteY3" fmla="*/ 369065 h 369065"/>
                          <a:gd name="connsiteX4" fmla="*/ 20199 w 380109"/>
                          <a:gd name="connsiteY4" fmla="*/ 369065 h 369065"/>
                          <a:gd name="connsiteX5" fmla="*/ 0 w 380109"/>
                          <a:gd name="connsiteY5" fmla="*/ 348866 h 369065"/>
                          <a:gd name="connsiteX6" fmla="*/ 0 w 380109"/>
                          <a:gd name="connsiteY6" fmla="*/ 20199 h 369065"/>
                          <a:gd name="connsiteX7" fmla="*/ 20199 w 380109"/>
                          <a:gd name="connsiteY7" fmla="*/ 0 h 369065"/>
                          <a:gd name="connsiteX0" fmla="*/ 20199 w 380109"/>
                          <a:gd name="connsiteY0" fmla="*/ 0 h 369065"/>
                          <a:gd name="connsiteX1" fmla="*/ 363532 w 380109"/>
                          <a:gd name="connsiteY1" fmla="*/ 0 h 369065"/>
                          <a:gd name="connsiteX2" fmla="*/ 368064 w 380109"/>
                          <a:gd name="connsiteY2" fmla="*/ 53597 h 369065"/>
                          <a:gd name="connsiteX3" fmla="*/ 31504 w 380109"/>
                          <a:gd name="connsiteY3" fmla="*/ 369065 h 369065"/>
                          <a:gd name="connsiteX4" fmla="*/ 0 w 380109"/>
                          <a:gd name="connsiteY4" fmla="*/ 348866 h 369065"/>
                          <a:gd name="connsiteX5" fmla="*/ 0 w 380109"/>
                          <a:gd name="connsiteY5" fmla="*/ 20199 h 369065"/>
                          <a:gd name="connsiteX6" fmla="*/ 20199 w 380109"/>
                          <a:gd name="connsiteY6" fmla="*/ 0 h 369065"/>
                          <a:gd name="connsiteX0" fmla="*/ 20215 w 380125"/>
                          <a:gd name="connsiteY0" fmla="*/ 0 h 369065"/>
                          <a:gd name="connsiteX1" fmla="*/ 363548 w 380125"/>
                          <a:gd name="connsiteY1" fmla="*/ 0 h 369065"/>
                          <a:gd name="connsiteX2" fmla="*/ 368080 w 380125"/>
                          <a:gd name="connsiteY2" fmla="*/ 53597 h 369065"/>
                          <a:gd name="connsiteX3" fmla="*/ 31520 w 380125"/>
                          <a:gd name="connsiteY3" fmla="*/ 369065 h 369065"/>
                          <a:gd name="connsiteX4" fmla="*/ 16 w 380125"/>
                          <a:gd name="connsiteY4" fmla="*/ 348866 h 369065"/>
                          <a:gd name="connsiteX5" fmla="*/ 16 w 380125"/>
                          <a:gd name="connsiteY5" fmla="*/ 20199 h 369065"/>
                          <a:gd name="connsiteX6" fmla="*/ 20215 w 380125"/>
                          <a:gd name="connsiteY6" fmla="*/ 0 h 369065"/>
                          <a:gd name="connsiteX0" fmla="*/ 20215 w 380125"/>
                          <a:gd name="connsiteY0" fmla="*/ 0 h 370770"/>
                          <a:gd name="connsiteX1" fmla="*/ 363548 w 380125"/>
                          <a:gd name="connsiteY1" fmla="*/ 0 h 370770"/>
                          <a:gd name="connsiteX2" fmla="*/ 368080 w 380125"/>
                          <a:gd name="connsiteY2" fmla="*/ 53597 h 370770"/>
                          <a:gd name="connsiteX3" fmla="*/ 31520 w 380125"/>
                          <a:gd name="connsiteY3" fmla="*/ 369065 h 370770"/>
                          <a:gd name="connsiteX4" fmla="*/ 16 w 380125"/>
                          <a:gd name="connsiteY4" fmla="*/ 348866 h 370770"/>
                          <a:gd name="connsiteX5" fmla="*/ 16 w 380125"/>
                          <a:gd name="connsiteY5" fmla="*/ 20199 h 370770"/>
                          <a:gd name="connsiteX6" fmla="*/ 20215 w 380125"/>
                          <a:gd name="connsiteY6" fmla="*/ 0 h 370770"/>
                          <a:gd name="connsiteX0" fmla="*/ 20216 w 380126"/>
                          <a:gd name="connsiteY0" fmla="*/ 0 h 372558"/>
                          <a:gd name="connsiteX1" fmla="*/ 363549 w 380126"/>
                          <a:gd name="connsiteY1" fmla="*/ 0 h 372558"/>
                          <a:gd name="connsiteX2" fmla="*/ 368081 w 380126"/>
                          <a:gd name="connsiteY2" fmla="*/ 53597 h 372558"/>
                          <a:gd name="connsiteX3" fmla="*/ 31521 w 380126"/>
                          <a:gd name="connsiteY3" fmla="*/ 369065 h 372558"/>
                          <a:gd name="connsiteX4" fmla="*/ 17 w 380126"/>
                          <a:gd name="connsiteY4" fmla="*/ 348866 h 372558"/>
                          <a:gd name="connsiteX5" fmla="*/ 17 w 380126"/>
                          <a:gd name="connsiteY5" fmla="*/ 20199 h 372558"/>
                          <a:gd name="connsiteX6" fmla="*/ 20216 w 380126"/>
                          <a:gd name="connsiteY6" fmla="*/ 0 h 372558"/>
                          <a:gd name="connsiteX0" fmla="*/ 20216 w 382211"/>
                          <a:gd name="connsiteY0" fmla="*/ 0 h 372558"/>
                          <a:gd name="connsiteX1" fmla="*/ 363549 w 382211"/>
                          <a:gd name="connsiteY1" fmla="*/ 0 h 372558"/>
                          <a:gd name="connsiteX2" fmla="*/ 368081 w 382211"/>
                          <a:gd name="connsiteY2" fmla="*/ 53597 h 372558"/>
                          <a:gd name="connsiteX3" fmla="*/ 31521 w 382211"/>
                          <a:gd name="connsiteY3" fmla="*/ 369065 h 372558"/>
                          <a:gd name="connsiteX4" fmla="*/ 17 w 382211"/>
                          <a:gd name="connsiteY4" fmla="*/ 348866 h 372558"/>
                          <a:gd name="connsiteX5" fmla="*/ 17 w 382211"/>
                          <a:gd name="connsiteY5" fmla="*/ 20199 h 372558"/>
                          <a:gd name="connsiteX6" fmla="*/ 20216 w 382211"/>
                          <a:gd name="connsiteY6" fmla="*/ 0 h 372558"/>
                          <a:gd name="connsiteX0" fmla="*/ 20216 w 382211"/>
                          <a:gd name="connsiteY0" fmla="*/ 0 h 372558"/>
                          <a:gd name="connsiteX1" fmla="*/ 363549 w 382211"/>
                          <a:gd name="connsiteY1" fmla="*/ 0 h 372558"/>
                          <a:gd name="connsiteX2" fmla="*/ 368081 w 382211"/>
                          <a:gd name="connsiteY2" fmla="*/ 53597 h 372558"/>
                          <a:gd name="connsiteX3" fmla="*/ 31521 w 382211"/>
                          <a:gd name="connsiteY3" fmla="*/ 369065 h 372558"/>
                          <a:gd name="connsiteX4" fmla="*/ 17 w 382211"/>
                          <a:gd name="connsiteY4" fmla="*/ 348866 h 372558"/>
                          <a:gd name="connsiteX5" fmla="*/ 17 w 382211"/>
                          <a:gd name="connsiteY5" fmla="*/ 20199 h 372558"/>
                          <a:gd name="connsiteX6" fmla="*/ 20216 w 382211"/>
                          <a:gd name="connsiteY6" fmla="*/ 0 h 372558"/>
                          <a:gd name="connsiteX0" fmla="*/ 20216 w 382536"/>
                          <a:gd name="connsiteY0" fmla="*/ 0 h 372558"/>
                          <a:gd name="connsiteX1" fmla="*/ 363549 w 382536"/>
                          <a:gd name="connsiteY1" fmla="*/ 0 h 372558"/>
                          <a:gd name="connsiteX2" fmla="*/ 368081 w 382536"/>
                          <a:gd name="connsiteY2" fmla="*/ 53597 h 372558"/>
                          <a:gd name="connsiteX3" fmla="*/ 31521 w 382536"/>
                          <a:gd name="connsiteY3" fmla="*/ 369065 h 372558"/>
                          <a:gd name="connsiteX4" fmla="*/ 17 w 382536"/>
                          <a:gd name="connsiteY4" fmla="*/ 348866 h 372558"/>
                          <a:gd name="connsiteX5" fmla="*/ 17 w 382536"/>
                          <a:gd name="connsiteY5" fmla="*/ 20199 h 372558"/>
                          <a:gd name="connsiteX6" fmla="*/ 20216 w 382536"/>
                          <a:gd name="connsiteY6" fmla="*/ 0 h 372558"/>
                          <a:gd name="connsiteX0" fmla="*/ 20216 w 382536"/>
                          <a:gd name="connsiteY0" fmla="*/ 0 h 372558"/>
                          <a:gd name="connsiteX1" fmla="*/ 363549 w 382536"/>
                          <a:gd name="connsiteY1" fmla="*/ 0 h 372558"/>
                          <a:gd name="connsiteX2" fmla="*/ 368081 w 382536"/>
                          <a:gd name="connsiteY2" fmla="*/ 46476 h 372558"/>
                          <a:gd name="connsiteX3" fmla="*/ 31521 w 382536"/>
                          <a:gd name="connsiteY3" fmla="*/ 369065 h 372558"/>
                          <a:gd name="connsiteX4" fmla="*/ 17 w 382536"/>
                          <a:gd name="connsiteY4" fmla="*/ 348866 h 372558"/>
                          <a:gd name="connsiteX5" fmla="*/ 17 w 382536"/>
                          <a:gd name="connsiteY5" fmla="*/ 20199 h 372558"/>
                          <a:gd name="connsiteX6" fmla="*/ 20216 w 382536"/>
                          <a:gd name="connsiteY6" fmla="*/ 0 h 372558"/>
                          <a:gd name="connsiteX0" fmla="*/ 20210 w 382530"/>
                          <a:gd name="connsiteY0" fmla="*/ 0 h 374713"/>
                          <a:gd name="connsiteX1" fmla="*/ 363543 w 382530"/>
                          <a:gd name="connsiteY1" fmla="*/ 0 h 374713"/>
                          <a:gd name="connsiteX2" fmla="*/ 368075 w 382530"/>
                          <a:gd name="connsiteY2" fmla="*/ 46476 h 374713"/>
                          <a:gd name="connsiteX3" fmla="*/ 44839 w 382530"/>
                          <a:gd name="connsiteY3" fmla="*/ 371730 h 374713"/>
                          <a:gd name="connsiteX4" fmla="*/ 11 w 382530"/>
                          <a:gd name="connsiteY4" fmla="*/ 348866 h 374713"/>
                          <a:gd name="connsiteX5" fmla="*/ 11 w 382530"/>
                          <a:gd name="connsiteY5" fmla="*/ 20199 h 374713"/>
                          <a:gd name="connsiteX6" fmla="*/ 20210 w 382530"/>
                          <a:gd name="connsiteY6" fmla="*/ 0 h 374713"/>
                          <a:gd name="connsiteX0" fmla="*/ 20208 w 382528"/>
                          <a:gd name="connsiteY0" fmla="*/ 0 h 376973"/>
                          <a:gd name="connsiteX1" fmla="*/ 363541 w 382528"/>
                          <a:gd name="connsiteY1" fmla="*/ 0 h 376973"/>
                          <a:gd name="connsiteX2" fmla="*/ 368073 w 382528"/>
                          <a:gd name="connsiteY2" fmla="*/ 46476 h 376973"/>
                          <a:gd name="connsiteX3" fmla="*/ 52834 w 382528"/>
                          <a:gd name="connsiteY3" fmla="*/ 374394 h 376973"/>
                          <a:gd name="connsiteX4" fmla="*/ 9 w 382528"/>
                          <a:gd name="connsiteY4" fmla="*/ 348866 h 376973"/>
                          <a:gd name="connsiteX5" fmla="*/ 9 w 382528"/>
                          <a:gd name="connsiteY5" fmla="*/ 20199 h 376973"/>
                          <a:gd name="connsiteX6" fmla="*/ 20208 w 382528"/>
                          <a:gd name="connsiteY6" fmla="*/ 0 h 376973"/>
                          <a:gd name="connsiteX0" fmla="*/ 20199 w 382519"/>
                          <a:gd name="connsiteY0" fmla="*/ 0 h 382809"/>
                          <a:gd name="connsiteX1" fmla="*/ 363532 w 382519"/>
                          <a:gd name="connsiteY1" fmla="*/ 0 h 382809"/>
                          <a:gd name="connsiteX2" fmla="*/ 368064 w 382519"/>
                          <a:gd name="connsiteY2" fmla="*/ 46476 h 382809"/>
                          <a:gd name="connsiteX3" fmla="*/ 52825 w 382519"/>
                          <a:gd name="connsiteY3" fmla="*/ 374394 h 382809"/>
                          <a:gd name="connsiteX4" fmla="*/ 7997 w 382519"/>
                          <a:gd name="connsiteY4" fmla="*/ 367519 h 382809"/>
                          <a:gd name="connsiteX5" fmla="*/ 0 w 382519"/>
                          <a:gd name="connsiteY5" fmla="*/ 20199 h 382809"/>
                          <a:gd name="connsiteX6" fmla="*/ 20199 w 382519"/>
                          <a:gd name="connsiteY6" fmla="*/ 0 h 382809"/>
                          <a:gd name="connsiteX0" fmla="*/ 20199 w 382519"/>
                          <a:gd name="connsiteY0" fmla="*/ 0 h 379334"/>
                          <a:gd name="connsiteX1" fmla="*/ 363532 w 382519"/>
                          <a:gd name="connsiteY1" fmla="*/ 0 h 379334"/>
                          <a:gd name="connsiteX2" fmla="*/ 368064 w 382519"/>
                          <a:gd name="connsiteY2" fmla="*/ 46476 h 379334"/>
                          <a:gd name="connsiteX3" fmla="*/ 52825 w 382519"/>
                          <a:gd name="connsiteY3" fmla="*/ 374394 h 379334"/>
                          <a:gd name="connsiteX4" fmla="*/ 7997 w 382519"/>
                          <a:gd name="connsiteY4" fmla="*/ 359525 h 379334"/>
                          <a:gd name="connsiteX5" fmla="*/ 0 w 382519"/>
                          <a:gd name="connsiteY5" fmla="*/ 20199 h 379334"/>
                          <a:gd name="connsiteX6" fmla="*/ 20199 w 382519"/>
                          <a:gd name="connsiteY6" fmla="*/ 0 h 379334"/>
                          <a:gd name="connsiteX0" fmla="*/ 20199 w 382519"/>
                          <a:gd name="connsiteY0" fmla="*/ 0 h 386377"/>
                          <a:gd name="connsiteX1" fmla="*/ 363532 w 382519"/>
                          <a:gd name="connsiteY1" fmla="*/ 0 h 386377"/>
                          <a:gd name="connsiteX2" fmla="*/ 368064 w 382519"/>
                          <a:gd name="connsiteY2" fmla="*/ 46476 h 386377"/>
                          <a:gd name="connsiteX3" fmla="*/ 52825 w 382519"/>
                          <a:gd name="connsiteY3" fmla="*/ 374394 h 386377"/>
                          <a:gd name="connsiteX4" fmla="*/ 7997 w 382519"/>
                          <a:gd name="connsiteY4" fmla="*/ 359525 h 386377"/>
                          <a:gd name="connsiteX5" fmla="*/ 0 w 382519"/>
                          <a:gd name="connsiteY5" fmla="*/ 20199 h 386377"/>
                          <a:gd name="connsiteX6" fmla="*/ 20199 w 382519"/>
                          <a:gd name="connsiteY6" fmla="*/ 0 h 386377"/>
                          <a:gd name="connsiteX0" fmla="*/ 22861 w 385181"/>
                          <a:gd name="connsiteY0" fmla="*/ 0 h 386377"/>
                          <a:gd name="connsiteX1" fmla="*/ 366194 w 385181"/>
                          <a:gd name="connsiteY1" fmla="*/ 0 h 386377"/>
                          <a:gd name="connsiteX2" fmla="*/ 370726 w 385181"/>
                          <a:gd name="connsiteY2" fmla="*/ 46476 h 386377"/>
                          <a:gd name="connsiteX3" fmla="*/ 55487 w 385181"/>
                          <a:gd name="connsiteY3" fmla="*/ 374394 h 386377"/>
                          <a:gd name="connsiteX4" fmla="*/ 10659 w 385181"/>
                          <a:gd name="connsiteY4" fmla="*/ 359525 h 386377"/>
                          <a:gd name="connsiteX5" fmla="*/ 0 w 385181"/>
                          <a:gd name="connsiteY5" fmla="*/ 22864 h 386377"/>
                          <a:gd name="connsiteX6" fmla="*/ 22861 w 385181"/>
                          <a:gd name="connsiteY6" fmla="*/ 0 h 386377"/>
                          <a:gd name="connsiteX0" fmla="*/ 22861 w 385181"/>
                          <a:gd name="connsiteY0" fmla="*/ 0 h 386377"/>
                          <a:gd name="connsiteX1" fmla="*/ 366194 w 385181"/>
                          <a:gd name="connsiteY1" fmla="*/ 0 h 386377"/>
                          <a:gd name="connsiteX2" fmla="*/ 370726 w 385181"/>
                          <a:gd name="connsiteY2" fmla="*/ 46476 h 386377"/>
                          <a:gd name="connsiteX3" fmla="*/ 55487 w 385181"/>
                          <a:gd name="connsiteY3" fmla="*/ 374394 h 386377"/>
                          <a:gd name="connsiteX4" fmla="*/ 2666 w 385181"/>
                          <a:gd name="connsiteY4" fmla="*/ 359526 h 386377"/>
                          <a:gd name="connsiteX5" fmla="*/ 0 w 385181"/>
                          <a:gd name="connsiteY5" fmla="*/ 22864 h 386377"/>
                          <a:gd name="connsiteX6" fmla="*/ 22861 w 385181"/>
                          <a:gd name="connsiteY6" fmla="*/ 0 h 386377"/>
                          <a:gd name="connsiteX0" fmla="*/ 25525 w 387845"/>
                          <a:gd name="connsiteY0" fmla="*/ 0 h 386377"/>
                          <a:gd name="connsiteX1" fmla="*/ 368858 w 387845"/>
                          <a:gd name="connsiteY1" fmla="*/ 0 h 386377"/>
                          <a:gd name="connsiteX2" fmla="*/ 373390 w 387845"/>
                          <a:gd name="connsiteY2" fmla="*/ 46476 h 386377"/>
                          <a:gd name="connsiteX3" fmla="*/ 58151 w 387845"/>
                          <a:gd name="connsiteY3" fmla="*/ 374394 h 386377"/>
                          <a:gd name="connsiteX4" fmla="*/ 5330 w 387845"/>
                          <a:gd name="connsiteY4" fmla="*/ 359526 h 386377"/>
                          <a:gd name="connsiteX5" fmla="*/ 0 w 387845"/>
                          <a:gd name="connsiteY5" fmla="*/ 22864 h 386377"/>
                          <a:gd name="connsiteX6" fmla="*/ 25525 w 387845"/>
                          <a:gd name="connsiteY6" fmla="*/ 0 h 386377"/>
                          <a:gd name="connsiteX0" fmla="*/ 20452 w 382772"/>
                          <a:gd name="connsiteY0" fmla="*/ 0 h 386377"/>
                          <a:gd name="connsiteX1" fmla="*/ 363785 w 382772"/>
                          <a:gd name="connsiteY1" fmla="*/ 0 h 386377"/>
                          <a:gd name="connsiteX2" fmla="*/ 368317 w 382772"/>
                          <a:gd name="connsiteY2" fmla="*/ 46476 h 386377"/>
                          <a:gd name="connsiteX3" fmla="*/ 53078 w 382772"/>
                          <a:gd name="connsiteY3" fmla="*/ 374394 h 386377"/>
                          <a:gd name="connsiteX4" fmla="*/ 257 w 382772"/>
                          <a:gd name="connsiteY4" fmla="*/ 359526 h 386377"/>
                          <a:gd name="connsiteX5" fmla="*/ 260 w 382772"/>
                          <a:gd name="connsiteY5" fmla="*/ 22864 h 386377"/>
                          <a:gd name="connsiteX6" fmla="*/ 20452 w 382772"/>
                          <a:gd name="connsiteY6" fmla="*/ 0 h 386377"/>
                          <a:gd name="connsiteX0" fmla="*/ 20192 w 382512"/>
                          <a:gd name="connsiteY0" fmla="*/ 0 h 391460"/>
                          <a:gd name="connsiteX1" fmla="*/ 363525 w 382512"/>
                          <a:gd name="connsiteY1" fmla="*/ 0 h 391460"/>
                          <a:gd name="connsiteX2" fmla="*/ 368057 w 382512"/>
                          <a:gd name="connsiteY2" fmla="*/ 46476 h 391460"/>
                          <a:gd name="connsiteX3" fmla="*/ 52818 w 382512"/>
                          <a:gd name="connsiteY3" fmla="*/ 374394 h 391460"/>
                          <a:gd name="connsiteX4" fmla="*/ 5327 w 382512"/>
                          <a:gd name="connsiteY4" fmla="*/ 372849 h 391460"/>
                          <a:gd name="connsiteX5" fmla="*/ 0 w 382512"/>
                          <a:gd name="connsiteY5" fmla="*/ 22864 h 391460"/>
                          <a:gd name="connsiteX6" fmla="*/ 20192 w 382512"/>
                          <a:gd name="connsiteY6" fmla="*/ 0 h 391460"/>
                          <a:gd name="connsiteX0" fmla="*/ 20192 w 382512"/>
                          <a:gd name="connsiteY0" fmla="*/ 0 h 392795"/>
                          <a:gd name="connsiteX1" fmla="*/ 363525 w 382512"/>
                          <a:gd name="connsiteY1" fmla="*/ 0 h 392795"/>
                          <a:gd name="connsiteX2" fmla="*/ 368057 w 382512"/>
                          <a:gd name="connsiteY2" fmla="*/ 46476 h 392795"/>
                          <a:gd name="connsiteX3" fmla="*/ 52818 w 382512"/>
                          <a:gd name="connsiteY3" fmla="*/ 374394 h 392795"/>
                          <a:gd name="connsiteX4" fmla="*/ 2661 w 382512"/>
                          <a:gd name="connsiteY4" fmla="*/ 375514 h 392795"/>
                          <a:gd name="connsiteX5" fmla="*/ 0 w 382512"/>
                          <a:gd name="connsiteY5" fmla="*/ 22864 h 392795"/>
                          <a:gd name="connsiteX6" fmla="*/ 20192 w 382512"/>
                          <a:gd name="connsiteY6" fmla="*/ 0 h 392795"/>
                          <a:gd name="connsiteX0" fmla="*/ 20450 w 382770"/>
                          <a:gd name="connsiteY0" fmla="*/ 0 h 392794"/>
                          <a:gd name="connsiteX1" fmla="*/ 363783 w 382770"/>
                          <a:gd name="connsiteY1" fmla="*/ 0 h 392794"/>
                          <a:gd name="connsiteX2" fmla="*/ 368315 w 382770"/>
                          <a:gd name="connsiteY2" fmla="*/ 46476 h 392794"/>
                          <a:gd name="connsiteX3" fmla="*/ 53076 w 382770"/>
                          <a:gd name="connsiteY3" fmla="*/ 374394 h 392794"/>
                          <a:gd name="connsiteX4" fmla="*/ 256 w 382770"/>
                          <a:gd name="connsiteY4" fmla="*/ 375513 h 392794"/>
                          <a:gd name="connsiteX5" fmla="*/ 258 w 382770"/>
                          <a:gd name="connsiteY5" fmla="*/ 22864 h 392794"/>
                          <a:gd name="connsiteX6" fmla="*/ 20450 w 382770"/>
                          <a:gd name="connsiteY6" fmla="*/ 0 h 392794"/>
                          <a:gd name="connsiteX0" fmla="*/ 20450 w 382770"/>
                          <a:gd name="connsiteY0" fmla="*/ 0 h 395565"/>
                          <a:gd name="connsiteX1" fmla="*/ 363783 w 382770"/>
                          <a:gd name="connsiteY1" fmla="*/ 0 h 395565"/>
                          <a:gd name="connsiteX2" fmla="*/ 368315 w 382770"/>
                          <a:gd name="connsiteY2" fmla="*/ 46476 h 395565"/>
                          <a:gd name="connsiteX3" fmla="*/ 47749 w 382770"/>
                          <a:gd name="connsiteY3" fmla="*/ 379722 h 395565"/>
                          <a:gd name="connsiteX4" fmla="*/ 256 w 382770"/>
                          <a:gd name="connsiteY4" fmla="*/ 375513 h 395565"/>
                          <a:gd name="connsiteX5" fmla="*/ 258 w 382770"/>
                          <a:gd name="connsiteY5" fmla="*/ 22864 h 395565"/>
                          <a:gd name="connsiteX6" fmla="*/ 20450 w 382770"/>
                          <a:gd name="connsiteY6" fmla="*/ 0 h 395565"/>
                          <a:gd name="connsiteX0" fmla="*/ 20450 w 382770"/>
                          <a:gd name="connsiteY0" fmla="*/ 0 h 395565"/>
                          <a:gd name="connsiteX1" fmla="*/ 363783 w 382770"/>
                          <a:gd name="connsiteY1" fmla="*/ 0 h 395565"/>
                          <a:gd name="connsiteX2" fmla="*/ 368315 w 382770"/>
                          <a:gd name="connsiteY2" fmla="*/ 46476 h 395565"/>
                          <a:gd name="connsiteX3" fmla="*/ 42422 w 382770"/>
                          <a:gd name="connsiteY3" fmla="*/ 379721 h 395565"/>
                          <a:gd name="connsiteX4" fmla="*/ 256 w 382770"/>
                          <a:gd name="connsiteY4" fmla="*/ 375513 h 395565"/>
                          <a:gd name="connsiteX5" fmla="*/ 258 w 382770"/>
                          <a:gd name="connsiteY5" fmla="*/ 22864 h 395565"/>
                          <a:gd name="connsiteX6" fmla="*/ 20450 w 382770"/>
                          <a:gd name="connsiteY6" fmla="*/ 0 h 395565"/>
                          <a:gd name="connsiteX0" fmla="*/ 20448 w 382768"/>
                          <a:gd name="connsiteY0" fmla="*/ 0 h 395564"/>
                          <a:gd name="connsiteX1" fmla="*/ 363781 w 382768"/>
                          <a:gd name="connsiteY1" fmla="*/ 0 h 395564"/>
                          <a:gd name="connsiteX2" fmla="*/ 368313 w 382768"/>
                          <a:gd name="connsiteY2" fmla="*/ 46476 h 395564"/>
                          <a:gd name="connsiteX3" fmla="*/ 42420 w 382768"/>
                          <a:gd name="connsiteY3" fmla="*/ 379721 h 395564"/>
                          <a:gd name="connsiteX4" fmla="*/ 257 w 382768"/>
                          <a:gd name="connsiteY4" fmla="*/ 375512 h 395564"/>
                          <a:gd name="connsiteX5" fmla="*/ 256 w 382768"/>
                          <a:gd name="connsiteY5" fmla="*/ 22864 h 395564"/>
                          <a:gd name="connsiteX6" fmla="*/ 20448 w 382768"/>
                          <a:gd name="connsiteY6" fmla="*/ 0 h 3955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82768" h="395564">
                            <a:moveTo>
                              <a:pt x="20448" y="0"/>
                            </a:moveTo>
                            <a:lnTo>
                              <a:pt x="363781" y="0"/>
                            </a:lnTo>
                            <a:cubicBezTo>
                              <a:pt x="384546" y="1357"/>
                              <a:pt x="391409" y="20673"/>
                              <a:pt x="368313" y="46476"/>
                            </a:cubicBezTo>
                            <a:lnTo>
                              <a:pt x="42420" y="379721"/>
                            </a:lnTo>
                            <a:cubicBezTo>
                              <a:pt x="30903" y="403223"/>
                              <a:pt x="-437" y="399546"/>
                              <a:pt x="257" y="375512"/>
                            </a:cubicBezTo>
                            <a:cubicBezTo>
                              <a:pt x="-632" y="263291"/>
                              <a:pt x="1145" y="135085"/>
                              <a:pt x="256" y="22864"/>
                            </a:cubicBezTo>
                            <a:cubicBezTo>
                              <a:pt x="256" y="11708"/>
                              <a:pt x="9292" y="0"/>
                              <a:pt x="20448" y="0"/>
                            </a:cubicBezTo>
                            <a:close/>
                          </a:path>
                        </a:pathLst>
                      </a:custGeom>
                      <a:grpFill/>
                      <a:ln w="12700" cap="flat" cmpd="sng" algn="ctr">
                        <a:noFill/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  <a:lvl1pPr marL="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10" name="Rounded Rectangle 109"/>
                      <p:cNvSpPr/>
                      <p:nvPr/>
                    </p:nvSpPr>
                    <p:spPr>
                      <a:xfrm rot="2779118">
                        <a:off x="4289569" y="2798580"/>
                        <a:ext cx="87368" cy="410538"/>
                      </a:xfrm>
                      <a:prstGeom prst="roundRect">
                        <a:avLst>
                          <a:gd name="adj" fmla="val 33829"/>
                        </a:avLst>
                      </a:prstGeom>
                      <a:grpFill/>
                      <a:ln w="12700" cap="flat" cmpd="sng" algn="ctr">
                        <a:noFill/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  <a:lvl1pPr marL="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Arial" panose="020B0604020202020204" pitchFamily="34" charset="0"/>
                        </a:endParaRPr>
                      </a:p>
                    </p:txBody>
                  </p:sp>
                </p:grpSp>
              </p:grpSp>
            </p:grpSp>
            <p:sp>
              <p:nvSpPr>
                <p:cNvPr id="103" name="Donut 102"/>
                <p:cNvSpPr/>
                <p:nvPr/>
              </p:nvSpPr>
              <p:spPr>
                <a:xfrm rot="2200897">
                  <a:off x="1324218" y="1510405"/>
                  <a:ext cx="2672954" cy="2670655"/>
                </a:xfrm>
                <a:prstGeom prst="donut">
                  <a:avLst>
                    <a:gd name="adj" fmla="val 7222"/>
                  </a:avLst>
                </a:prstGeom>
                <a:solidFill>
                  <a:sysClr val="windowText" lastClr="000000">
                    <a:lumMod val="65000"/>
                    <a:lumOff val="35000"/>
                  </a:sysClr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138" name="Group 137"/>
            <p:cNvGrpSpPr/>
            <p:nvPr/>
          </p:nvGrpSpPr>
          <p:grpSpPr>
            <a:xfrm>
              <a:off x="2316288" y="2105162"/>
              <a:ext cx="719207" cy="721878"/>
              <a:chOff x="5009517" y="2548210"/>
              <a:chExt cx="719207" cy="721878"/>
            </a:xfrm>
          </p:grpSpPr>
          <p:sp>
            <p:nvSpPr>
              <p:cNvPr id="139" name="Freeform 138"/>
              <p:cNvSpPr/>
              <p:nvPr/>
            </p:nvSpPr>
            <p:spPr>
              <a:xfrm>
                <a:off x="5009517" y="2548210"/>
                <a:ext cx="719207" cy="721878"/>
              </a:xfrm>
              <a:custGeom>
                <a:avLst/>
                <a:gdLst>
                  <a:gd name="connsiteX0" fmla="*/ 650734 w 1328932"/>
                  <a:gd name="connsiteY0" fmla="*/ 0 h 1333866"/>
                  <a:gd name="connsiteX1" fmla="*/ 673812 w 1328932"/>
                  <a:gd name="connsiteY1" fmla="*/ 79029 h 1333866"/>
                  <a:gd name="connsiteX2" fmla="*/ 737265 w 1328932"/>
                  <a:gd name="connsiteY2" fmla="*/ 83600 h 1333866"/>
                  <a:gd name="connsiteX3" fmla="*/ 773421 w 1328932"/>
                  <a:gd name="connsiteY3" fmla="*/ 6872 h 1333866"/>
                  <a:gd name="connsiteX4" fmla="*/ 827889 w 1328932"/>
                  <a:gd name="connsiteY4" fmla="*/ 18371 h 1333866"/>
                  <a:gd name="connsiteX5" fmla="*/ 829920 w 1328932"/>
                  <a:gd name="connsiteY5" fmla="*/ 102056 h 1333866"/>
                  <a:gd name="connsiteX6" fmla="*/ 831348 w 1328932"/>
                  <a:gd name="connsiteY6" fmla="*/ 102369 h 1333866"/>
                  <a:gd name="connsiteX7" fmla="*/ 889394 w 1328932"/>
                  <a:gd name="connsiteY7" fmla="*/ 124065 h 1333866"/>
                  <a:gd name="connsiteX8" fmla="*/ 946313 w 1328932"/>
                  <a:gd name="connsiteY8" fmla="*/ 59656 h 1333866"/>
                  <a:gd name="connsiteX9" fmla="*/ 995394 w 1328932"/>
                  <a:gd name="connsiteY9" fmla="*/ 85925 h 1333866"/>
                  <a:gd name="connsiteX10" fmla="*/ 973958 w 1328932"/>
                  <a:gd name="connsiteY10" fmla="*/ 166793 h 1333866"/>
                  <a:gd name="connsiteX11" fmla="*/ 979500 w 1328932"/>
                  <a:gd name="connsiteY11" fmla="*/ 169802 h 1333866"/>
                  <a:gd name="connsiteX12" fmla="*/ 1029879 w 1328932"/>
                  <a:gd name="connsiteY12" fmla="*/ 205872 h 1333866"/>
                  <a:gd name="connsiteX13" fmla="*/ 1101640 w 1328932"/>
                  <a:gd name="connsiteY13" fmla="*/ 160568 h 1333866"/>
                  <a:gd name="connsiteX14" fmla="*/ 1141398 w 1328932"/>
                  <a:gd name="connsiteY14" fmla="*/ 199536 h 1333866"/>
                  <a:gd name="connsiteX15" fmla="*/ 1098344 w 1328932"/>
                  <a:gd name="connsiteY15" fmla="*/ 270865 h 1333866"/>
                  <a:gd name="connsiteX16" fmla="*/ 1122993 w 1328932"/>
                  <a:gd name="connsiteY16" fmla="*/ 298349 h 1333866"/>
                  <a:gd name="connsiteX17" fmla="*/ 1143724 w 1328932"/>
                  <a:gd name="connsiteY17" fmla="*/ 328433 h 1333866"/>
                  <a:gd name="connsiteX18" fmla="*/ 1223600 w 1328932"/>
                  <a:gd name="connsiteY18" fmla="*/ 305308 h 1333866"/>
                  <a:gd name="connsiteX19" fmla="*/ 1250976 w 1328932"/>
                  <a:gd name="connsiteY19" fmla="*/ 353781 h 1333866"/>
                  <a:gd name="connsiteX20" fmla="*/ 1191329 w 1328932"/>
                  <a:gd name="connsiteY20" fmla="*/ 408950 h 1333866"/>
                  <a:gd name="connsiteX21" fmla="*/ 1210078 w 1328932"/>
                  <a:gd name="connsiteY21" fmla="*/ 447173 h 1333866"/>
                  <a:gd name="connsiteX22" fmla="*/ 1215570 w 1328932"/>
                  <a:gd name="connsiteY22" fmla="*/ 462927 h 1333866"/>
                  <a:gd name="connsiteX23" fmla="*/ 1297622 w 1328932"/>
                  <a:gd name="connsiteY23" fmla="*/ 459842 h 1333866"/>
                  <a:gd name="connsiteX24" fmla="*/ 1312464 w 1328932"/>
                  <a:gd name="connsiteY24" fmla="*/ 513497 h 1333866"/>
                  <a:gd name="connsiteX25" fmla="*/ 1241172 w 1328932"/>
                  <a:gd name="connsiteY25" fmla="*/ 552647 h 1333866"/>
                  <a:gd name="connsiteX26" fmla="*/ 1249127 w 1328932"/>
                  <a:gd name="connsiteY26" fmla="*/ 605882 h 1333866"/>
                  <a:gd name="connsiteX27" fmla="*/ 1250047 w 1328932"/>
                  <a:gd name="connsiteY27" fmla="*/ 624091 h 1333866"/>
                  <a:gd name="connsiteX28" fmla="*/ 1328932 w 1328932"/>
                  <a:gd name="connsiteY28" fmla="*/ 642753 h 1333866"/>
                  <a:gd name="connsiteX29" fmla="*/ 1328932 w 1328932"/>
                  <a:gd name="connsiteY29" fmla="*/ 698423 h 1333866"/>
                  <a:gd name="connsiteX30" fmla="*/ 1249387 w 1328932"/>
                  <a:gd name="connsiteY30" fmla="*/ 717241 h 1333866"/>
                  <a:gd name="connsiteX31" fmla="*/ 1248684 w 1328932"/>
                  <a:gd name="connsiteY31" fmla="*/ 730252 h 1333866"/>
                  <a:gd name="connsiteX32" fmla="*/ 1241256 w 1328932"/>
                  <a:gd name="connsiteY32" fmla="*/ 775655 h 1333866"/>
                  <a:gd name="connsiteX33" fmla="*/ 1313610 w 1328932"/>
                  <a:gd name="connsiteY33" fmla="*/ 816722 h 1333866"/>
                  <a:gd name="connsiteX34" fmla="*/ 1298015 w 1328932"/>
                  <a:gd name="connsiteY34" fmla="*/ 870162 h 1333866"/>
                  <a:gd name="connsiteX35" fmla="*/ 1216626 w 1328932"/>
                  <a:gd name="connsiteY35" fmla="*/ 865957 h 1333866"/>
                  <a:gd name="connsiteX36" fmla="*/ 1199435 w 1328932"/>
                  <a:gd name="connsiteY36" fmla="*/ 909582 h 1333866"/>
                  <a:gd name="connsiteX37" fmla="*/ 1190578 w 1328932"/>
                  <a:gd name="connsiteY37" fmla="*/ 927031 h 1333866"/>
                  <a:gd name="connsiteX38" fmla="*/ 1249948 w 1328932"/>
                  <a:gd name="connsiteY38" fmla="*/ 987184 h 1333866"/>
                  <a:gd name="connsiteX39" fmla="*/ 1220394 w 1328932"/>
                  <a:gd name="connsiteY39" fmla="*/ 1034361 h 1333866"/>
                  <a:gd name="connsiteX40" fmla="*/ 1142032 w 1328932"/>
                  <a:gd name="connsiteY40" fmla="*/ 1007753 h 1333866"/>
                  <a:gd name="connsiteX41" fmla="*/ 1123131 w 1328932"/>
                  <a:gd name="connsiteY41" fmla="*/ 1033400 h 1333866"/>
                  <a:gd name="connsiteX42" fmla="*/ 1101486 w 1328932"/>
                  <a:gd name="connsiteY42" fmla="*/ 1057553 h 1333866"/>
                  <a:gd name="connsiteX43" fmla="*/ 1142950 w 1328932"/>
                  <a:gd name="connsiteY43" fmla="*/ 1129630 h 1333866"/>
                  <a:gd name="connsiteX44" fmla="*/ 1102383 w 1328932"/>
                  <a:gd name="connsiteY44" fmla="*/ 1167754 h 1333866"/>
                  <a:gd name="connsiteX45" fmla="*/ 1034133 w 1328932"/>
                  <a:gd name="connsiteY45" fmla="*/ 1122634 h 1333866"/>
                  <a:gd name="connsiteX46" fmla="*/ 1032173 w 1328932"/>
                  <a:gd name="connsiteY46" fmla="*/ 1124392 h 1333866"/>
                  <a:gd name="connsiteX47" fmla="*/ 979289 w 1328932"/>
                  <a:gd name="connsiteY47" fmla="*/ 1160837 h 1333866"/>
                  <a:gd name="connsiteX48" fmla="*/ 1000685 w 1328932"/>
                  <a:gd name="connsiteY48" fmla="*/ 1238240 h 1333866"/>
                  <a:gd name="connsiteX49" fmla="*/ 951883 w 1328932"/>
                  <a:gd name="connsiteY49" fmla="*/ 1265027 h 1333866"/>
                  <a:gd name="connsiteX50" fmla="*/ 897347 w 1328932"/>
                  <a:gd name="connsiteY50" fmla="*/ 1204611 h 1333866"/>
                  <a:gd name="connsiteX51" fmla="*/ 883350 w 1328932"/>
                  <a:gd name="connsiteY51" fmla="*/ 1211476 h 1333866"/>
                  <a:gd name="connsiteX52" fmla="*/ 839354 w 1328932"/>
                  <a:gd name="connsiteY52" fmla="*/ 1226815 h 1333866"/>
                  <a:gd name="connsiteX53" fmla="*/ 836102 w 1328932"/>
                  <a:gd name="connsiteY53" fmla="*/ 1310758 h 1333866"/>
                  <a:gd name="connsiteX54" fmla="*/ 781473 w 1328932"/>
                  <a:gd name="connsiteY54" fmla="*/ 1321469 h 1333866"/>
                  <a:gd name="connsiteX55" fmla="*/ 747723 w 1328932"/>
                  <a:gd name="connsiteY55" fmla="*/ 1247077 h 1333866"/>
                  <a:gd name="connsiteX56" fmla="*/ 724640 w 1328932"/>
                  <a:gd name="connsiteY56" fmla="*/ 1250526 h 1333866"/>
                  <a:gd name="connsiteX57" fmla="*/ 680478 w 1328932"/>
                  <a:gd name="connsiteY57" fmla="*/ 1252756 h 1333866"/>
                  <a:gd name="connsiteX58" fmla="*/ 661856 w 1328932"/>
                  <a:gd name="connsiteY58" fmla="*/ 1333866 h 1333866"/>
                  <a:gd name="connsiteX59" fmla="*/ 596350 w 1328932"/>
                  <a:gd name="connsiteY59" fmla="*/ 1330734 h 1333866"/>
                  <a:gd name="connsiteX60" fmla="*/ 585472 w 1328932"/>
                  <a:gd name="connsiteY60" fmla="*/ 1247624 h 1333866"/>
                  <a:gd name="connsiteX61" fmla="*/ 546140 w 1328932"/>
                  <a:gd name="connsiteY61" fmla="*/ 1241622 h 1333866"/>
                  <a:gd name="connsiteX62" fmla="*/ 517647 w 1328932"/>
                  <a:gd name="connsiteY62" fmla="*/ 1234296 h 1333866"/>
                  <a:gd name="connsiteX63" fmla="*/ 473128 w 1328932"/>
                  <a:gd name="connsiteY63" fmla="*/ 1305805 h 1333866"/>
                  <a:gd name="connsiteX64" fmla="*/ 420365 w 1328932"/>
                  <a:gd name="connsiteY64" fmla="*/ 1288054 h 1333866"/>
                  <a:gd name="connsiteX65" fmla="*/ 428168 w 1328932"/>
                  <a:gd name="connsiteY65" fmla="*/ 1203686 h 1333866"/>
                  <a:gd name="connsiteX66" fmla="*/ 384478 w 1328932"/>
                  <a:gd name="connsiteY66" fmla="*/ 1182639 h 1333866"/>
                  <a:gd name="connsiteX67" fmla="*/ 369786 w 1328932"/>
                  <a:gd name="connsiteY67" fmla="*/ 1173432 h 1333866"/>
                  <a:gd name="connsiteX68" fmla="*/ 307149 w 1328932"/>
                  <a:gd name="connsiteY68" fmla="*/ 1230379 h 1333866"/>
                  <a:gd name="connsiteX69" fmla="*/ 261223 w 1328932"/>
                  <a:gd name="connsiteY69" fmla="*/ 1198917 h 1333866"/>
                  <a:gd name="connsiteX70" fmla="*/ 292070 w 1328932"/>
                  <a:gd name="connsiteY70" fmla="*/ 1118989 h 1333866"/>
                  <a:gd name="connsiteX71" fmla="*/ 266224 w 1328932"/>
                  <a:gd name="connsiteY71" fmla="*/ 1097936 h 1333866"/>
                  <a:gd name="connsiteX72" fmla="*/ 244458 w 1328932"/>
                  <a:gd name="connsiteY72" fmla="*/ 1075225 h 1333866"/>
                  <a:gd name="connsiteX73" fmla="*/ 170858 w 1328932"/>
                  <a:gd name="connsiteY73" fmla="*/ 1111425 h 1333866"/>
                  <a:gd name="connsiteX74" fmla="*/ 135448 w 1328932"/>
                  <a:gd name="connsiteY74" fmla="*/ 1068469 h 1333866"/>
                  <a:gd name="connsiteX75" fmla="*/ 184688 w 1328932"/>
                  <a:gd name="connsiteY75" fmla="*/ 1003573 h 1333866"/>
                  <a:gd name="connsiteX76" fmla="*/ 172420 w 1328932"/>
                  <a:gd name="connsiteY76" fmla="*/ 987127 h 1333866"/>
                  <a:gd name="connsiteX77" fmla="*/ 147185 w 1328932"/>
                  <a:gd name="connsiteY77" fmla="*/ 943990 h 1333866"/>
                  <a:gd name="connsiteX78" fmla="*/ 62973 w 1328932"/>
                  <a:gd name="connsiteY78" fmla="*/ 954755 h 1333866"/>
                  <a:gd name="connsiteX79" fmla="*/ 43391 w 1328932"/>
                  <a:gd name="connsiteY79" fmla="*/ 902643 h 1333866"/>
                  <a:gd name="connsiteX80" fmla="*/ 109846 w 1328932"/>
                  <a:gd name="connsiteY80" fmla="*/ 857979 h 1333866"/>
                  <a:gd name="connsiteX81" fmla="*/ 99254 w 1328932"/>
                  <a:gd name="connsiteY81" fmla="*/ 826823 h 1333866"/>
                  <a:gd name="connsiteX82" fmla="*/ 91285 w 1328932"/>
                  <a:gd name="connsiteY82" fmla="*/ 789027 h 1333866"/>
                  <a:gd name="connsiteX83" fmla="*/ 6677 w 1328932"/>
                  <a:gd name="connsiteY83" fmla="*/ 779505 h 1333866"/>
                  <a:gd name="connsiteX84" fmla="*/ 0 w 1328932"/>
                  <a:gd name="connsiteY84" fmla="*/ 724237 h 1333866"/>
                  <a:gd name="connsiteX85" fmla="*/ 78990 w 1328932"/>
                  <a:gd name="connsiteY85" fmla="*/ 695176 h 1333866"/>
                  <a:gd name="connsiteX86" fmla="*/ 76963 w 1328932"/>
                  <a:gd name="connsiteY86" fmla="*/ 665961 h 1333866"/>
                  <a:gd name="connsiteX87" fmla="*/ 79576 w 1328932"/>
                  <a:gd name="connsiteY87" fmla="*/ 627118 h 1333866"/>
                  <a:gd name="connsiteX88" fmla="*/ 2614 w 1328932"/>
                  <a:gd name="connsiteY88" fmla="*/ 599172 h 1333866"/>
                  <a:gd name="connsiteX89" fmla="*/ 9058 w 1328932"/>
                  <a:gd name="connsiteY89" fmla="*/ 543876 h 1333866"/>
                  <a:gd name="connsiteX90" fmla="*/ 92983 w 1328932"/>
                  <a:gd name="connsiteY90" fmla="*/ 534071 h 1333866"/>
                  <a:gd name="connsiteX91" fmla="*/ 97943 w 1328932"/>
                  <a:gd name="connsiteY91" fmla="*/ 509790 h 1333866"/>
                  <a:gd name="connsiteX92" fmla="*/ 113985 w 1328932"/>
                  <a:gd name="connsiteY92" fmla="*/ 463592 h 1333866"/>
                  <a:gd name="connsiteX93" fmla="*/ 48447 w 1328932"/>
                  <a:gd name="connsiteY93" fmla="*/ 415605 h 1333866"/>
                  <a:gd name="connsiteX94" fmla="*/ 70110 w 1328932"/>
                  <a:gd name="connsiteY94" fmla="*/ 364324 h 1333866"/>
                  <a:gd name="connsiteX95" fmla="*/ 152721 w 1328932"/>
                  <a:gd name="connsiteY95" fmla="*/ 378283 h 1333866"/>
                  <a:gd name="connsiteX96" fmla="*/ 157150 w 1328932"/>
                  <a:gd name="connsiteY96" fmla="*/ 369453 h 1333866"/>
                  <a:gd name="connsiteX97" fmla="*/ 186297 w 1328932"/>
                  <a:gd name="connsiteY97" fmla="*/ 325075 h 1333866"/>
                  <a:gd name="connsiteX98" fmla="*/ 136161 w 1328932"/>
                  <a:gd name="connsiteY98" fmla="*/ 260212 h 1333866"/>
                  <a:gd name="connsiteX99" fmla="*/ 171186 w 1328932"/>
                  <a:gd name="connsiteY99" fmla="*/ 216941 h 1333866"/>
                  <a:gd name="connsiteX100" fmla="*/ 247151 w 1328932"/>
                  <a:gd name="connsiteY100" fmla="*/ 253464 h 1333866"/>
                  <a:gd name="connsiteX101" fmla="*/ 270780 w 1328932"/>
                  <a:gd name="connsiteY101" fmla="*/ 229826 h 1333866"/>
                  <a:gd name="connsiteX102" fmla="*/ 297792 w 1328932"/>
                  <a:gd name="connsiteY102" fmla="*/ 208570 h 1333866"/>
                  <a:gd name="connsiteX103" fmla="*/ 270314 w 1328932"/>
                  <a:gd name="connsiteY103" fmla="*/ 128437 h 1333866"/>
                  <a:gd name="connsiteX104" fmla="*/ 317402 w 1328932"/>
                  <a:gd name="connsiteY104" fmla="*/ 98741 h 1333866"/>
                  <a:gd name="connsiteX105" fmla="*/ 375534 w 1328932"/>
                  <a:gd name="connsiteY105" fmla="*/ 155773 h 1333866"/>
                  <a:gd name="connsiteX106" fmla="*/ 403413 w 1328932"/>
                  <a:gd name="connsiteY106" fmla="*/ 139438 h 1333866"/>
                  <a:gd name="connsiteX107" fmla="*/ 430496 w 1328932"/>
                  <a:gd name="connsiteY107" fmla="*/ 127395 h 1333866"/>
                  <a:gd name="connsiteX108" fmla="*/ 422175 w 1328932"/>
                  <a:gd name="connsiteY108" fmla="*/ 43886 h 1333866"/>
                  <a:gd name="connsiteX109" fmla="*/ 474812 w 1328932"/>
                  <a:gd name="connsiteY109" fmla="*/ 25761 h 1333866"/>
                  <a:gd name="connsiteX110" fmla="*/ 519802 w 1328932"/>
                  <a:gd name="connsiteY110" fmla="*/ 96899 h 1333866"/>
                  <a:gd name="connsiteX111" fmla="*/ 546140 w 1328932"/>
                  <a:gd name="connsiteY111" fmla="*/ 90300 h 1333866"/>
                  <a:gd name="connsiteX112" fmla="*/ 580134 w 1328932"/>
                  <a:gd name="connsiteY112" fmla="*/ 85112 h 1333866"/>
                  <a:gd name="connsiteX113" fmla="*/ 595139 w 1328932"/>
                  <a:gd name="connsiteY113" fmla="*/ 2884 h 1333866"/>
                  <a:gd name="connsiteX114" fmla="*/ 650734 w 1328932"/>
                  <a:gd name="connsiteY114" fmla="*/ 0 h 1333866"/>
                  <a:gd name="connsiteX115" fmla="*/ 664466 w 1328932"/>
                  <a:gd name="connsiteY115" fmla="*/ 190154 h 1333866"/>
                  <a:gd name="connsiteX116" fmla="*/ 187687 w 1328932"/>
                  <a:gd name="connsiteY116" fmla="*/ 666933 h 1333866"/>
                  <a:gd name="connsiteX117" fmla="*/ 664466 w 1328932"/>
                  <a:gd name="connsiteY117" fmla="*/ 1143712 h 1333866"/>
                  <a:gd name="connsiteX118" fmla="*/ 1141245 w 1328932"/>
                  <a:gd name="connsiteY118" fmla="*/ 666933 h 1333866"/>
                  <a:gd name="connsiteX119" fmla="*/ 664466 w 1328932"/>
                  <a:gd name="connsiteY119" fmla="*/ 190154 h 1333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328932" h="1333866">
                    <a:moveTo>
                      <a:pt x="650734" y="0"/>
                    </a:moveTo>
                    <a:lnTo>
                      <a:pt x="673812" y="79029"/>
                    </a:lnTo>
                    <a:lnTo>
                      <a:pt x="737265" y="83600"/>
                    </a:lnTo>
                    <a:lnTo>
                      <a:pt x="773421" y="6872"/>
                    </a:lnTo>
                    <a:lnTo>
                      <a:pt x="827889" y="18371"/>
                    </a:lnTo>
                    <a:lnTo>
                      <a:pt x="829920" y="102056"/>
                    </a:lnTo>
                    <a:lnTo>
                      <a:pt x="831348" y="102369"/>
                    </a:lnTo>
                    <a:lnTo>
                      <a:pt x="889394" y="124065"/>
                    </a:lnTo>
                    <a:lnTo>
                      <a:pt x="946313" y="59656"/>
                    </a:lnTo>
                    <a:lnTo>
                      <a:pt x="995394" y="85925"/>
                    </a:lnTo>
                    <a:lnTo>
                      <a:pt x="973958" y="166793"/>
                    </a:lnTo>
                    <a:lnTo>
                      <a:pt x="979500" y="169802"/>
                    </a:lnTo>
                    <a:lnTo>
                      <a:pt x="1029879" y="205872"/>
                    </a:lnTo>
                    <a:lnTo>
                      <a:pt x="1101640" y="160568"/>
                    </a:lnTo>
                    <a:lnTo>
                      <a:pt x="1141398" y="199536"/>
                    </a:lnTo>
                    <a:lnTo>
                      <a:pt x="1098344" y="270865"/>
                    </a:lnTo>
                    <a:lnTo>
                      <a:pt x="1122993" y="298349"/>
                    </a:lnTo>
                    <a:lnTo>
                      <a:pt x="1143724" y="328433"/>
                    </a:lnTo>
                    <a:lnTo>
                      <a:pt x="1223600" y="305308"/>
                    </a:lnTo>
                    <a:lnTo>
                      <a:pt x="1250976" y="353781"/>
                    </a:lnTo>
                    <a:lnTo>
                      <a:pt x="1191329" y="408950"/>
                    </a:lnTo>
                    <a:lnTo>
                      <a:pt x="1210078" y="447173"/>
                    </a:lnTo>
                    <a:lnTo>
                      <a:pt x="1215570" y="462927"/>
                    </a:lnTo>
                    <a:lnTo>
                      <a:pt x="1297622" y="459842"/>
                    </a:lnTo>
                    <a:lnTo>
                      <a:pt x="1312464" y="513497"/>
                    </a:lnTo>
                    <a:lnTo>
                      <a:pt x="1241172" y="552647"/>
                    </a:lnTo>
                    <a:lnTo>
                      <a:pt x="1249127" y="605882"/>
                    </a:lnTo>
                    <a:lnTo>
                      <a:pt x="1250047" y="624091"/>
                    </a:lnTo>
                    <a:lnTo>
                      <a:pt x="1328932" y="642753"/>
                    </a:lnTo>
                    <a:lnTo>
                      <a:pt x="1328932" y="698423"/>
                    </a:lnTo>
                    <a:lnTo>
                      <a:pt x="1249387" y="717241"/>
                    </a:lnTo>
                    <a:lnTo>
                      <a:pt x="1248684" y="730252"/>
                    </a:lnTo>
                    <a:lnTo>
                      <a:pt x="1241256" y="775655"/>
                    </a:lnTo>
                    <a:lnTo>
                      <a:pt x="1313610" y="816722"/>
                    </a:lnTo>
                    <a:lnTo>
                      <a:pt x="1298015" y="870162"/>
                    </a:lnTo>
                    <a:lnTo>
                      <a:pt x="1216626" y="865957"/>
                    </a:lnTo>
                    <a:lnTo>
                      <a:pt x="1199435" y="909582"/>
                    </a:lnTo>
                    <a:lnTo>
                      <a:pt x="1190578" y="927031"/>
                    </a:lnTo>
                    <a:lnTo>
                      <a:pt x="1249948" y="987184"/>
                    </a:lnTo>
                    <a:lnTo>
                      <a:pt x="1220394" y="1034361"/>
                    </a:lnTo>
                    <a:lnTo>
                      <a:pt x="1142032" y="1007753"/>
                    </a:lnTo>
                    <a:lnTo>
                      <a:pt x="1123131" y="1033400"/>
                    </a:lnTo>
                    <a:lnTo>
                      <a:pt x="1101486" y="1057553"/>
                    </a:lnTo>
                    <a:lnTo>
                      <a:pt x="1142950" y="1129630"/>
                    </a:lnTo>
                    <a:lnTo>
                      <a:pt x="1102383" y="1167754"/>
                    </a:lnTo>
                    <a:lnTo>
                      <a:pt x="1034133" y="1122634"/>
                    </a:lnTo>
                    <a:lnTo>
                      <a:pt x="1032173" y="1124392"/>
                    </a:lnTo>
                    <a:lnTo>
                      <a:pt x="979289" y="1160837"/>
                    </a:lnTo>
                    <a:lnTo>
                      <a:pt x="1000685" y="1238240"/>
                    </a:lnTo>
                    <a:lnTo>
                      <a:pt x="951883" y="1265027"/>
                    </a:lnTo>
                    <a:lnTo>
                      <a:pt x="897347" y="1204611"/>
                    </a:lnTo>
                    <a:lnTo>
                      <a:pt x="883350" y="1211476"/>
                    </a:lnTo>
                    <a:lnTo>
                      <a:pt x="839354" y="1226815"/>
                    </a:lnTo>
                    <a:lnTo>
                      <a:pt x="836102" y="1310758"/>
                    </a:lnTo>
                    <a:lnTo>
                      <a:pt x="781473" y="1321469"/>
                    </a:lnTo>
                    <a:lnTo>
                      <a:pt x="747723" y="1247077"/>
                    </a:lnTo>
                    <a:lnTo>
                      <a:pt x="724640" y="1250526"/>
                    </a:lnTo>
                    <a:lnTo>
                      <a:pt x="680478" y="1252756"/>
                    </a:lnTo>
                    <a:lnTo>
                      <a:pt x="661856" y="1333866"/>
                    </a:lnTo>
                    <a:lnTo>
                      <a:pt x="596350" y="1330734"/>
                    </a:lnTo>
                    <a:lnTo>
                      <a:pt x="585472" y="1247624"/>
                    </a:lnTo>
                    <a:lnTo>
                      <a:pt x="546140" y="1241622"/>
                    </a:lnTo>
                    <a:lnTo>
                      <a:pt x="517647" y="1234296"/>
                    </a:lnTo>
                    <a:lnTo>
                      <a:pt x="473128" y="1305805"/>
                    </a:lnTo>
                    <a:lnTo>
                      <a:pt x="420365" y="1288054"/>
                    </a:lnTo>
                    <a:lnTo>
                      <a:pt x="428168" y="1203686"/>
                    </a:lnTo>
                    <a:lnTo>
                      <a:pt x="384478" y="1182639"/>
                    </a:lnTo>
                    <a:lnTo>
                      <a:pt x="369786" y="1173432"/>
                    </a:lnTo>
                    <a:lnTo>
                      <a:pt x="307149" y="1230379"/>
                    </a:lnTo>
                    <a:lnTo>
                      <a:pt x="261223" y="1198917"/>
                    </a:lnTo>
                    <a:lnTo>
                      <a:pt x="292070" y="1118989"/>
                    </a:lnTo>
                    <a:lnTo>
                      <a:pt x="266224" y="1097936"/>
                    </a:lnTo>
                    <a:lnTo>
                      <a:pt x="244458" y="1075225"/>
                    </a:lnTo>
                    <a:lnTo>
                      <a:pt x="170858" y="1111425"/>
                    </a:lnTo>
                    <a:lnTo>
                      <a:pt x="135448" y="1068469"/>
                    </a:lnTo>
                    <a:lnTo>
                      <a:pt x="184688" y="1003573"/>
                    </a:lnTo>
                    <a:lnTo>
                      <a:pt x="172420" y="987127"/>
                    </a:lnTo>
                    <a:lnTo>
                      <a:pt x="147185" y="943990"/>
                    </a:lnTo>
                    <a:lnTo>
                      <a:pt x="62973" y="954755"/>
                    </a:lnTo>
                    <a:lnTo>
                      <a:pt x="43391" y="902643"/>
                    </a:lnTo>
                    <a:lnTo>
                      <a:pt x="109846" y="857979"/>
                    </a:lnTo>
                    <a:lnTo>
                      <a:pt x="99254" y="826823"/>
                    </a:lnTo>
                    <a:lnTo>
                      <a:pt x="91285" y="789027"/>
                    </a:lnTo>
                    <a:lnTo>
                      <a:pt x="6677" y="779505"/>
                    </a:lnTo>
                    <a:lnTo>
                      <a:pt x="0" y="724237"/>
                    </a:lnTo>
                    <a:lnTo>
                      <a:pt x="78990" y="695176"/>
                    </a:lnTo>
                    <a:lnTo>
                      <a:pt x="76963" y="665961"/>
                    </a:lnTo>
                    <a:lnTo>
                      <a:pt x="79576" y="627118"/>
                    </a:lnTo>
                    <a:lnTo>
                      <a:pt x="2614" y="599172"/>
                    </a:lnTo>
                    <a:lnTo>
                      <a:pt x="9058" y="543876"/>
                    </a:lnTo>
                    <a:lnTo>
                      <a:pt x="92983" y="534071"/>
                    </a:lnTo>
                    <a:lnTo>
                      <a:pt x="97943" y="509790"/>
                    </a:lnTo>
                    <a:lnTo>
                      <a:pt x="113985" y="463592"/>
                    </a:lnTo>
                    <a:lnTo>
                      <a:pt x="48447" y="415605"/>
                    </a:lnTo>
                    <a:lnTo>
                      <a:pt x="70110" y="364324"/>
                    </a:lnTo>
                    <a:lnTo>
                      <a:pt x="152721" y="378283"/>
                    </a:lnTo>
                    <a:lnTo>
                      <a:pt x="157150" y="369453"/>
                    </a:lnTo>
                    <a:lnTo>
                      <a:pt x="186297" y="325075"/>
                    </a:lnTo>
                    <a:lnTo>
                      <a:pt x="136161" y="260212"/>
                    </a:lnTo>
                    <a:lnTo>
                      <a:pt x="171186" y="216941"/>
                    </a:lnTo>
                    <a:lnTo>
                      <a:pt x="247151" y="253464"/>
                    </a:lnTo>
                    <a:lnTo>
                      <a:pt x="270780" y="229826"/>
                    </a:lnTo>
                    <a:lnTo>
                      <a:pt x="297792" y="208570"/>
                    </a:lnTo>
                    <a:lnTo>
                      <a:pt x="270314" y="128437"/>
                    </a:lnTo>
                    <a:lnTo>
                      <a:pt x="317402" y="98741"/>
                    </a:lnTo>
                    <a:lnTo>
                      <a:pt x="375534" y="155773"/>
                    </a:lnTo>
                    <a:lnTo>
                      <a:pt x="403413" y="139438"/>
                    </a:lnTo>
                    <a:lnTo>
                      <a:pt x="430496" y="127395"/>
                    </a:lnTo>
                    <a:lnTo>
                      <a:pt x="422175" y="43886"/>
                    </a:lnTo>
                    <a:lnTo>
                      <a:pt x="474812" y="25761"/>
                    </a:lnTo>
                    <a:lnTo>
                      <a:pt x="519802" y="96899"/>
                    </a:lnTo>
                    <a:lnTo>
                      <a:pt x="546140" y="90300"/>
                    </a:lnTo>
                    <a:lnTo>
                      <a:pt x="580134" y="85112"/>
                    </a:lnTo>
                    <a:lnTo>
                      <a:pt x="595139" y="2884"/>
                    </a:lnTo>
                    <a:lnTo>
                      <a:pt x="650734" y="0"/>
                    </a:lnTo>
                    <a:close/>
                    <a:moveTo>
                      <a:pt x="664466" y="190154"/>
                    </a:moveTo>
                    <a:cubicBezTo>
                      <a:pt x="401148" y="190154"/>
                      <a:pt x="187687" y="403615"/>
                      <a:pt x="187687" y="666933"/>
                    </a:cubicBezTo>
                    <a:cubicBezTo>
                      <a:pt x="187687" y="930251"/>
                      <a:pt x="401148" y="1143712"/>
                      <a:pt x="664466" y="1143712"/>
                    </a:cubicBezTo>
                    <a:cubicBezTo>
                      <a:pt x="927784" y="1143712"/>
                      <a:pt x="1141245" y="930251"/>
                      <a:pt x="1141245" y="666933"/>
                    </a:cubicBezTo>
                    <a:cubicBezTo>
                      <a:pt x="1141245" y="403615"/>
                      <a:pt x="927784" y="190154"/>
                      <a:pt x="664466" y="190154"/>
                    </a:cubicBezTo>
                    <a:close/>
                  </a:path>
                </a:pathLst>
              </a:custGeom>
              <a:solidFill>
                <a:srgbClr val="5B9BD5">
                  <a:lumMod val="60000"/>
                  <a:lumOff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0" name="Oval 139"/>
              <p:cNvSpPr/>
              <p:nvPr/>
            </p:nvSpPr>
            <p:spPr>
              <a:xfrm>
                <a:off x="5129337" y="2669366"/>
                <a:ext cx="479566" cy="479567"/>
              </a:xfrm>
              <a:prstGeom prst="ellipse">
                <a:avLst/>
              </a:prstGeom>
              <a:solidFill>
                <a:srgbClr val="5B9BD5">
                  <a:lumMod val="60000"/>
                  <a:lumOff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"/>
              <p:cNvSpPr/>
              <p:nvPr/>
            </p:nvSpPr>
            <p:spPr>
              <a:xfrm rot="21057610">
                <a:off x="5282411" y="2882564"/>
                <a:ext cx="33514" cy="44319"/>
              </a:xfrm>
              <a:custGeom>
                <a:avLst/>
                <a:gdLst>
                  <a:gd name="connsiteX0" fmla="*/ 0 w 665018"/>
                  <a:gd name="connsiteY0" fmla="*/ 0 h 522806"/>
                  <a:gd name="connsiteX1" fmla="*/ 665018 w 665018"/>
                  <a:gd name="connsiteY1" fmla="*/ 0 h 522806"/>
                  <a:gd name="connsiteX2" fmla="*/ 665018 w 665018"/>
                  <a:gd name="connsiteY2" fmla="*/ 522806 h 522806"/>
                  <a:gd name="connsiteX3" fmla="*/ 0 w 665018"/>
                  <a:gd name="connsiteY3" fmla="*/ 522806 h 522806"/>
                  <a:gd name="connsiteX4" fmla="*/ 0 w 665018"/>
                  <a:gd name="connsiteY4" fmla="*/ 0 h 522806"/>
                  <a:gd name="connsiteX0" fmla="*/ 0 w 665018"/>
                  <a:gd name="connsiteY0" fmla="*/ 0 h 522806"/>
                  <a:gd name="connsiteX1" fmla="*/ 665018 w 665018"/>
                  <a:gd name="connsiteY1" fmla="*/ 0 h 522806"/>
                  <a:gd name="connsiteX2" fmla="*/ 665018 w 665018"/>
                  <a:gd name="connsiteY2" fmla="*/ 522806 h 522806"/>
                  <a:gd name="connsiteX3" fmla="*/ 266466 w 665018"/>
                  <a:gd name="connsiteY3" fmla="*/ 505977 h 522806"/>
                  <a:gd name="connsiteX4" fmla="*/ 0 w 665018"/>
                  <a:gd name="connsiteY4" fmla="*/ 0 h 522806"/>
                  <a:gd name="connsiteX0" fmla="*/ 56099 w 398552"/>
                  <a:gd name="connsiteY0" fmla="*/ 159880 h 522806"/>
                  <a:gd name="connsiteX1" fmla="*/ 398552 w 398552"/>
                  <a:gd name="connsiteY1" fmla="*/ 0 h 522806"/>
                  <a:gd name="connsiteX2" fmla="*/ 398552 w 398552"/>
                  <a:gd name="connsiteY2" fmla="*/ 522806 h 522806"/>
                  <a:gd name="connsiteX3" fmla="*/ 0 w 398552"/>
                  <a:gd name="connsiteY3" fmla="*/ 505977 h 522806"/>
                  <a:gd name="connsiteX4" fmla="*/ 56099 w 398552"/>
                  <a:gd name="connsiteY4" fmla="*/ 159880 h 522806"/>
                  <a:gd name="connsiteX0" fmla="*/ 0 w 507943"/>
                  <a:gd name="connsiteY0" fmla="*/ 157075 h 522806"/>
                  <a:gd name="connsiteX1" fmla="*/ 507943 w 507943"/>
                  <a:gd name="connsiteY1" fmla="*/ 0 h 522806"/>
                  <a:gd name="connsiteX2" fmla="*/ 507943 w 507943"/>
                  <a:gd name="connsiteY2" fmla="*/ 522806 h 522806"/>
                  <a:gd name="connsiteX3" fmla="*/ 109391 w 507943"/>
                  <a:gd name="connsiteY3" fmla="*/ 505977 h 522806"/>
                  <a:gd name="connsiteX4" fmla="*/ 0 w 507943"/>
                  <a:gd name="connsiteY4" fmla="*/ 157075 h 522806"/>
                  <a:gd name="connsiteX0" fmla="*/ 0 w 507943"/>
                  <a:gd name="connsiteY0" fmla="*/ 157075 h 522806"/>
                  <a:gd name="connsiteX1" fmla="*/ 507943 w 507943"/>
                  <a:gd name="connsiteY1" fmla="*/ 0 h 522806"/>
                  <a:gd name="connsiteX2" fmla="*/ 507943 w 507943"/>
                  <a:gd name="connsiteY2" fmla="*/ 522806 h 522806"/>
                  <a:gd name="connsiteX3" fmla="*/ 109391 w 507943"/>
                  <a:gd name="connsiteY3" fmla="*/ 505977 h 522806"/>
                  <a:gd name="connsiteX4" fmla="*/ 0 w 507943"/>
                  <a:gd name="connsiteY4" fmla="*/ 157075 h 522806"/>
                  <a:gd name="connsiteX0" fmla="*/ 0 w 507943"/>
                  <a:gd name="connsiteY0" fmla="*/ 79373 h 445104"/>
                  <a:gd name="connsiteX1" fmla="*/ 216233 w 507943"/>
                  <a:gd name="connsiteY1" fmla="*/ 76568 h 445104"/>
                  <a:gd name="connsiteX2" fmla="*/ 507943 w 507943"/>
                  <a:gd name="connsiteY2" fmla="*/ 445104 h 445104"/>
                  <a:gd name="connsiteX3" fmla="*/ 109391 w 507943"/>
                  <a:gd name="connsiteY3" fmla="*/ 428275 h 445104"/>
                  <a:gd name="connsiteX4" fmla="*/ 0 w 507943"/>
                  <a:gd name="connsiteY4" fmla="*/ 79373 h 445104"/>
                  <a:gd name="connsiteX0" fmla="*/ 0 w 507943"/>
                  <a:gd name="connsiteY0" fmla="*/ 108291 h 474022"/>
                  <a:gd name="connsiteX1" fmla="*/ 216233 w 507943"/>
                  <a:gd name="connsiteY1" fmla="*/ 105486 h 474022"/>
                  <a:gd name="connsiteX2" fmla="*/ 507943 w 507943"/>
                  <a:gd name="connsiteY2" fmla="*/ 474022 h 474022"/>
                  <a:gd name="connsiteX3" fmla="*/ 109391 w 507943"/>
                  <a:gd name="connsiteY3" fmla="*/ 457193 h 474022"/>
                  <a:gd name="connsiteX4" fmla="*/ 0 w 507943"/>
                  <a:gd name="connsiteY4" fmla="*/ 108291 h 474022"/>
                  <a:gd name="connsiteX0" fmla="*/ 0 w 507943"/>
                  <a:gd name="connsiteY0" fmla="*/ 122543 h 488274"/>
                  <a:gd name="connsiteX1" fmla="*/ 353673 w 507943"/>
                  <a:gd name="connsiteY1" fmla="*/ 83274 h 488274"/>
                  <a:gd name="connsiteX2" fmla="*/ 507943 w 507943"/>
                  <a:gd name="connsiteY2" fmla="*/ 488274 h 488274"/>
                  <a:gd name="connsiteX3" fmla="*/ 109391 w 507943"/>
                  <a:gd name="connsiteY3" fmla="*/ 471445 h 488274"/>
                  <a:gd name="connsiteX4" fmla="*/ 0 w 507943"/>
                  <a:gd name="connsiteY4" fmla="*/ 122543 h 488274"/>
                  <a:gd name="connsiteX0" fmla="*/ 0 w 353673"/>
                  <a:gd name="connsiteY0" fmla="*/ 122543 h 471445"/>
                  <a:gd name="connsiteX1" fmla="*/ 353673 w 353673"/>
                  <a:gd name="connsiteY1" fmla="*/ 83274 h 471445"/>
                  <a:gd name="connsiteX2" fmla="*/ 176964 w 353673"/>
                  <a:gd name="connsiteY2" fmla="*/ 376078 h 471445"/>
                  <a:gd name="connsiteX3" fmla="*/ 109391 w 353673"/>
                  <a:gd name="connsiteY3" fmla="*/ 471445 h 471445"/>
                  <a:gd name="connsiteX4" fmla="*/ 0 w 353673"/>
                  <a:gd name="connsiteY4" fmla="*/ 122543 h 471445"/>
                  <a:gd name="connsiteX0" fmla="*/ 0 w 353673"/>
                  <a:gd name="connsiteY0" fmla="*/ 122543 h 471445"/>
                  <a:gd name="connsiteX1" fmla="*/ 353673 w 353673"/>
                  <a:gd name="connsiteY1" fmla="*/ 83274 h 471445"/>
                  <a:gd name="connsiteX2" fmla="*/ 272331 w 353673"/>
                  <a:gd name="connsiteY2" fmla="*/ 440591 h 471445"/>
                  <a:gd name="connsiteX3" fmla="*/ 109391 w 353673"/>
                  <a:gd name="connsiteY3" fmla="*/ 471445 h 471445"/>
                  <a:gd name="connsiteX4" fmla="*/ 0 w 353673"/>
                  <a:gd name="connsiteY4" fmla="*/ 122543 h 471445"/>
                  <a:gd name="connsiteX0" fmla="*/ 0 w 353673"/>
                  <a:gd name="connsiteY0" fmla="*/ 122543 h 472875"/>
                  <a:gd name="connsiteX1" fmla="*/ 353673 w 353673"/>
                  <a:gd name="connsiteY1" fmla="*/ 83274 h 472875"/>
                  <a:gd name="connsiteX2" fmla="*/ 272331 w 353673"/>
                  <a:gd name="connsiteY2" fmla="*/ 440591 h 472875"/>
                  <a:gd name="connsiteX3" fmla="*/ 109391 w 353673"/>
                  <a:gd name="connsiteY3" fmla="*/ 471445 h 472875"/>
                  <a:gd name="connsiteX4" fmla="*/ 0 w 353673"/>
                  <a:gd name="connsiteY4" fmla="*/ 122543 h 472875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8355 h 496033"/>
                  <a:gd name="connsiteX1" fmla="*/ 353673 w 353673"/>
                  <a:gd name="connsiteY1" fmla="*/ 89086 h 496033"/>
                  <a:gd name="connsiteX2" fmla="*/ 272331 w 353673"/>
                  <a:gd name="connsiteY2" fmla="*/ 446403 h 496033"/>
                  <a:gd name="connsiteX3" fmla="*/ 109391 w 353673"/>
                  <a:gd name="connsiteY3" fmla="*/ 477257 h 496033"/>
                  <a:gd name="connsiteX4" fmla="*/ 0 w 353673"/>
                  <a:gd name="connsiteY4" fmla="*/ 128355 h 496033"/>
                  <a:gd name="connsiteX0" fmla="*/ 0 w 355143"/>
                  <a:gd name="connsiteY0" fmla="*/ 128355 h 496033"/>
                  <a:gd name="connsiteX1" fmla="*/ 353673 w 355143"/>
                  <a:gd name="connsiteY1" fmla="*/ 89086 h 496033"/>
                  <a:gd name="connsiteX2" fmla="*/ 272331 w 355143"/>
                  <a:gd name="connsiteY2" fmla="*/ 446403 h 496033"/>
                  <a:gd name="connsiteX3" fmla="*/ 109391 w 355143"/>
                  <a:gd name="connsiteY3" fmla="*/ 477257 h 496033"/>
                  <a:gd name="connsiteX4" fmla="*/ 0 w 355143"/>
                  <a:gd name="connsiteY4" fmla="*/ 128355 h 496033"/>
                  <a:gd name="connsiteX0" fmla="*/ 0 w 355930"/>
                  <a:gd name="connsiteY0" fmla="*/ 128355 h 496033"/>
                  <a:gd name="connsiteX1" fmla="*/ 353673 w 355930"/>
                  <a:gd name="connsiteY1" fmla="*/ 89086 h 496033"/>
                  <a:gd name="connsiteX2" fmla="*/ 272331 w 355930"/>
                  <a:gd name="connsiteY2" fmla="*/ 446403 h 496033"/>
                  <a:gd name="connsiteX3" fmla="*/ 109391 w 355930"/>
                  <a:gd name="connsiteY3" fmla="*/ 477257 h 496033"/>
                  <a:gd name="connsiteX4" fmla="*/ 0 w 355930"/>
                  <a:gd name="connsiteY4" fmla="*/ 128355 h 496033"/>
                  <a:gd name="connsiteX0" fmla="*/ 0 w 356185"/>
                  <a:gd name="connsiteY0" fmla="*/ 128355 h 496033"/>
                  <a:gd name="connsiteX1" fmla="*/ 353673 w 356185"/>
                  <a:gd name="connsiteY1" fmla="*/ 89086 h 496033"/>
                  <a:gd name="connsiteX2" fmla="*/ 272331 w 356185"/>
                  <a:gd name="connsiteY2" fmla="*/ 446403 h 496033"/>
                  <a:gd name="connsiteX3" fmla="*/ 109391 w 356185"/>
                  <a:gd name="connsiteY3" fmla="*/ 477257 h 496033"/>
                  <a:gd name="connsiteX4" fmla="*/ 0 w 356185"/>
                  <a:gd name="connsiteY4" fmla="*/ 128355 h 496033"/>
                  <a:gd name="connsiteX0" fmla="*/ 0 w 355606"/>
                  <a:gd name="connsiteY0" fmla="*/ 128355 h 498044"/>
                  <a:gd name="connsiteX1" fmla="*/ 353673 w 355606"/>
                  <a:gd name="connsiteY1" fmla="*/ 89086 h 498044"/>
                  <a:gd name="connsiteX2" fmla="*/ 258307 w 355606"/>
                  <a:gd name="connsiteY2" fmla="*/ 452013 h 498044"/>
                  <a:gd name="connsiteX3" fmla="*/ 109391 w 355606"/>
                  <a:gd name="connsiteY3" fmla="*/ 477257 h 498044"/>
                  <a:gd name="connsiteX4" fmla="*/ 0 w 355606"/>
                  <a:gd name="connsiteY4" fmla="*/ 128355 h 498044"/>
                  <a:gd name="connsiteX0" fmla="*/ 0 w 355606"/>
                  <a:gd name="connsiteY0" fmla="*/ 128355 h 498044"/>
                  <a:gd name="connsiteX1" fmla="*/ 353673 w 355606"/>
                  <a:gd name="connsiteY1" fmla="*/ 89086 h 498044"/>
                  <a:gd name="connsiteX2" fmla="*/ 258307 w 355606"/>
                  <a:gd name="connsiteY2" fmla="*/ 452013 h 498044"/>
                  <a:gd name="connsiteX3" fmla="*/ 109391 w 355606"/>
                  <a:gd name="connsiteY3" fmla="*/ 477257 h 498044"/>
                  <a:gd name="connsiteX4" fmla="*/ 0 w 355606"/>
                  <a:gd name="connsiteY4" fmla="*/ 128355 h 498044"/>
                  <a:gd name="connsiteX0" fmla="*/ 0 w 361902"/>
                  <a:gd name="connsiteY0" fmla="*/ 128355 h 498044"/>
                  <a:gd name="connsiteX1" fmla="*/ 353673 w 361902"/>
                  <a:gd name="connsiteY1" fmla="*/ 89086 h 498044"/>
                  <a:gd name="connsiteX2" fmla="*/ 258307 w 361902"/>
                  <a:gd name="connsiteY2" fmla="*/ 452013 h 498044"/>
                  <a:gd name="connsiteX3" fmla="*/ 109391 w 361902"/>
                  <a:gd name="connsiteY3" fmla="*/ 477257 h 498044"/>
                  <a:gd name="connsiteX4" fmla="*/ 0 w 361902"/>
                  <a:gd name="connsiteY4" fmla="*/ 128355 h 498044"/>
                  <a:gd name="connsiteX0" fmla="*/ 0 w 361902"/>
                  <a:gd name="connsiteY0" fmla="*/ 149137 h 518826"/>
                  <a:gd name="connsiteX1" fmla="*/ 353673 w 361902"/>
                  <a:gd name="connsiteY1" fmla="*/ 109868 h 518826"/>
                  <a:gd name="connsiteX2" fmla="*/ 258307 w 361902"/>
                  <a:gd name="connsiteY2" fmla="*/ 472795 h 518826"/>
                  <a:gd name="connsiteX3" fmla="*/ 109391 w 361902"/>
                  <a:gd name="connsiteY3" fmla="*/ 498039 h 518826"/>
                  <a:gd name="connsiteX4" fmla="*/ 0 w 361902"/>
                  <a:gd name="connsiteY4" fmla="*/ 149137 h 518826"/>
                  <a:gd name="connsiteX0" fmla="*/ 0 w 361902"/>
                  <a:gd name="connsiteY0" fmla="*/ 139280 h 508969"/>
                  <a:gd name="connsiteX1" fmla="*/ 353673 w 361902"/>
                  <a:gd name="connsiteY1" fmla="*/ 119645 h 508969"/>
                  <a:gd name="connsiteX2" fmla="*/ 258307 w 361902"/>
                  <a:gd name="connsiteY2" fmla="*/ 462938 h 508969"/>
                  <a:gd name="connsiteX3" fmla="*/ 109391 w 361902"/>
                  <a:gd name="connsiteY3" fmla="*/ 488182 h 508969"/>
                  <a:gd name="connsiteX4" fmla="*/ 0 w 361902"/>
                  <a:gd name="connsiteY4" fmla="*/ 139280 h 508969"/>
                  <a:gd name="connsiteX0" fmla="*/ 0 w 361902"/>
                  <a:gd name="connsiteY0" fmla="*/ 150807 h 520496"/>
                  <a:gd name="connsiteX1" fmla="*/ 353673 w 361902"/>
                  <a:gd name="connsiteY1" fmla="*/ 131172 h 520496"/>
                  <a:gd name="connsiteX2" fmla="*/ 258307 w 361902"/>
                  <a:gd name="connsiteY2" fmla="*/ 474465 h 520496"/>
                  <a:gd name="connsiteX3" fmla="*/ 109391 w 361902"/>
                  <a:gd name="connsiteY3" fmla="*/ 499709 h 520496"/>
                  <a:gd name="connsiteX4" fmla="*/ 0 w 361902"/>
                  <a:gd name="connsiteY4" fmla="*/ 150807 h 520496"/>
                  <a:gd name="connsiteX0" fmla="*/ 0 w 364707"/>
                  <a:gd name="connsiteY0" fmla="*/ 153718 h 517797"/>
                  <a:gd name="connsiteX1" fmla="*/ 356478 w 364707"/>
                  <a:gd name="connsiteY1" fmla="*/ 128473 h 517797"/>
                  <a:gd name="connsiteX2" fmla="*/ 261112 w 364707"/>
                  <a:gd name="connsiteY2" fmla="*/ 471766 h 517797"/>
                  <a:gd name="connsiteX3" fmla="*/ 112196 w 364707"/>
                  <a:gd name="connsiteY3" fmla="*/ 497010 h 517797"/>
                  <a:gd name="connsiteX4" fmla="*/ 0 w 364707"/>
                  <a:gd name="connsiteY4" fmla="*/ 153718 h 517797"/>
                  <a:gd name="connsiteX0" fmla="*/ 0 w 364707"/>
                  <a:gd name="connsiteY0" fmla="*/ 152703 h 516782"/>
                  <a:gd name="connsiteX1" fmla="*/ 356478 w 364707"/>
                  <a:gd name="connsiteY1" fmla="*/ 127458 h 516782"/>
                  <a:gd name="connsiteX2" fmla="*/ 261112 w 364707"/>
                  <a:gd name="connsiteY2" fmla="*/ 470751 h 516782"/>
                  <a:gd name="connsiteX3" fmla="*/ 112196 w 364707"/>
                  <a:gd name="connsiteY3" fmla="*/ 495995 h 516782"/>
                  <a:gd name="connsiteX4" fmla="*/ 0 w 364707"/>
                  <a:gd name="connsiteY4" fmla="*/ 152703 h 516782"/>
                  <a:gd name="connsiteX0" fmla="*/ 2543 w 367250"/>
                  <a:gd name="connsiteY0" fmla="*/ 152703 h 516782"/>
                  <a:gd name="connsiteX1" fmla="*/ 359021 w 367250"/>
                  <a:gd name="connsiteY1" fmla="*/ 127458 h 516782"/>
                  <a:gd name="connsiteX2" fmla="*/ 263655 w 367250"/>
                  <a:gd name="connsiteY2" fmla="*/ 470751 h 516782"/>
                  <a:gd name="connsiteX3" fmla="*/ 114739 w 367250"/>
                  <a:gd name="connsiteY3" fmla="*/ 495995 h 516782"/>
                  <a:gd name="connsiteX4" fmla="*/ 2543 w 367250"/>
                  <a:gd name="connsiteY4" fmla="*/ 152703 h 516782"/>
                  <a:gd name="connsiteX0" fmla="*/ 2793 w 367500"/>
                  <a:gd name="connsiteY0" fmla="*/ 152703 h 507611"/>
                  <a:gd name="connsiteX1" fmla="*/ 359271 w 367500"/>
                  <a:gd name="connsiteY1" fmla="*/ 127458 h 507611"/>
                  <a:gd name="connsiteX2" fmla="*/ 263905 w 367500"/>
                  <a:gd name="connsiteY2" fmla="*/ 470751 h 507611"/>
                  <a:gd name="connsiteX3" fmla="*/ 109379 w 367500"/>
                  <a:gd name="connsiteY3" fmla="*/ 479165 h 507611"/>
                  <a:gd name="connsiteX4" fmla="*/ 2793 w 367500"/>
                  <a:gd name="connsiteY4" fmla="*/ 152703 h 507611"/>
                  <a:gd name="connsiteX0" fmla="*/ 2348 w 367055"/>
                  <a:gd name="connsiteY0" fmla="*/ 152703 h 507611"/>
                  <a:gd name="connsiteX1" fmla="*/ 358826 w 367055"/>
                  <a:gd name="connsiteY1" fmla="*/ 127458 h 507611"/>
                  <a:gd name="connsiteX2" fmla="*/ 263460 w 367055"/>
                  <a:gd name="connsiteY2" fmla="*/ 470751 h 507611"/>
                  <a:gd name="connsiteX3" fmla="*/ 108934 w 367055"/>
                  <a:gd name="connsiteY3" fmla="*/ 479165 h 507611"/>
                  <a:gd name="connsiteX4" fmla="*/ 2348 w 367055"/>
                  <a:gd name="connsiteY4" fmla="*/ 152703 h 507611"/>
                  <a:gd name="connsiteX0" fmla="*/ 2451 w 367158"/>
                  <a:gd name="connsiteY0" fmla="*/ 152703 h 507611"/>
                  <a:gd name="connsiteX1" fmla="*/ 358929 w 367158"/>
                  <a:gd name="connsiteY1" fmla="*/ 127458 h 507611"/>
                  <a:gd name="connsiteX2" fmla="*/ 263563 w 367158"/>
                  <a:gd name="connsiteY2" fmla="*/ 470751 h 507611"/>
                  <a:gd name="connsiteX3" fmla="*/ 106233 w 367158"/>
                  <a:gd name="connsiteY3" fmla="*/ 479165 h 507611"/>
                  <a:gd name="connsiteX4" fmla="*/ 2451 w 367158"/>
                  <a:gd name="connsiteY4" fmla="*/ 152703 h 507611"/>
                  <a:gd name="connsiteX0" fmla="*/ 2451 w 367158"/>
                  <a:gd name="connsiteY0" fmla="*/ 152703 h 505628"/>
                  <a:gd name="connsiteX1" fmla="*/ 358929 w 367158"/>
                  <a:gd name="connsiteY1" fmla="*/ 127458 h 505628"/>
                  <a:gd name="connsiteX2" fmla="*/ 263563 w 367158"/>
                  <a:gd name="connsiteY2" fmla="*/ 470751 h 505628"/>
                  <a:gd name="connsiteX3" fmla="*/ 106233 w 367158"/>
                  <a:gd name="connsiteY3" fmla="*/ 479165 h 505628"/>
                  <a:gd name="connsiteX4" fmla="*/ 2451 w 367158"/>
                  <a:gd name="connsiteY4" fmla="*/ 152703 h 505628"/>
                  <a:gd name="connsiteX0" fmla="*/ 2451 w 367158"/>
                  <a:gd name="connsiteY0" fmla="*/ 152703 h 504512"/>
                  <a:gd name="connsiteX1" fmla="*/ 358929 w 367158"/>
                  <a:gd name="connsiteY1" fmla="*/ 127458 h 504512"/>
                  <a:gd name="connsiteX2" fmla="*/ 263563 w 367158"/>
                  <a:gd name="connsiteY2" fmla="*/ 470751 h 504512"/>
                  <a:gd name="connsiteX3" fmla="*/ 106233 w 367158"/>
                  <a:gd name="connsiteY3" fmla="*/ 479165 h 504512"/>
                  <a:gd name="connsiteX4" fmla="*/ 2451 w 367158"/>
                  <a:gd name="connsiteY4" fmla="*/ 152703 h 504512"/>
                  <a:gd name="connsiteX0" fmla="*/ 2558 w 367265"/>
                  <a:gd name="connsiteY0" fmla="*/ 152703 h 504512"/>
                  <a:gd name="connsiteX1" fmla="*/ 359036 w 367265"/>
                  <a:gd name="connsiteY1" fmla="*/ 127458 h 504512"/>
                  <a:gd name="connsiteX2" fmla="*/ 263670 w 367265"/>
                  <a:gd name="connsiteY2" fmla="*/ 470751 h 504512"/>
                  <a:gd name="connsiteX3" fmla="*/ 106340 w 367265"/>
                  <a:gd name="connsiteY3" fmla="*/ 479165 h 504512"/>
                  <a:gd name="connsiteX4" fmla="*/ 2558 w 367265"/>
                  <a:gd name="connsiteY4" fmla="*/ 152703 h 504512"/>
                  <a:gd name="connsiteX0" fmla="*/ 2018 w 366725"/>
                  <a:gd name="connsiteY0" fmla="*/ 152703 h 504512"/>
                  <a:gd name="connsiteX1" fmla="*/ 358496 w 366725"/>
                  <a:gd name="connsiteY1" fmla="*/ 127458 h 504512"/>
                  <a:gd name="connsiteX2" fmla="*/ 263130 w 366725"/>
                  <a:gd name="connsiteY2" fmla="*/ 470751 h 504512"/>
                  <a:gd name="connsiteX3" fmla="*/ 105800 w 366725"/>
                  <a:gd name="connsiteY3" fmla="*/ 479165 h 504512"/>
                  <a:gd name="connsiteX4" fmla="*/ 2018 w 366725"/>
                  <a:gd name="connsiteY4" fmla="*/ 152703 h 504512"/>
                  <a:gd name="connsiteX0" fmla="*/ 2018 w 366725"/>
                  <a:gd name="connsiteY0" fmla="*/ 152703 h 504512"/>
                  <a:gd name="connsiteX1" fmla="*/ 358496 w 366725"/>
                  <a:gd name="connsiteY1" fmla="*/ 127458 h 504512"/>
                  <a:gd name="connsiteX2" fmla="*/ 263130 w 366725"/>
                  <a:gd name="connsiteY2" fmla="*/ 470751 h 504512"/>
                  <a:gd name="connsiteX3" fmla="*/ 105800 w 366725"/>
                  <a:gd name="connsiteY3" fmla="*/ 479165 h 504512"/>
                  <a:gd name="connsiteX4" fmla="*/ 2018 w 366725"/>
                  <a:gd name="connsiteY4" fmla="*/ 152703 h 504512"/>
                  <a:gd name="connsiteX0" fmla="*/ 2018 w 367498"/>
                  <a:gd name="connsiteY0" fmla="*/ 152703 h 506072"/>
                  <a:gd name="connsiteX1" fmla="*/ 358496 w 367498"/>
                  <a:gd name="connsiteY1" fmla="*/ 127458 h 506072"/>
                  <a:gd name="connsiteX2" fmla="*/ 271544 w 367498"/>
                  <a:gd name="connsiteY2" fmla="*/ 473556 h 506072"/>
                  <a:gd name="connsiteX3" fmla="*/ 105800 w 367498"/>
                  <a:gd name="connsiteY3" fmla="*/ 479165 h 506072"/>
                  <a:gd name="connsiteX4" fmla="*/ 2018 w 367498"/>
                  <a:gd name="connsiteY4" fmla="*/ 152703 h 506072"/>
                  <a:gd name="connsiteX0" fmla="*/ 2018 w 367004"/>
                  <a:gd name="connsiteY0" fmla="*/ 152703 h 506072"/>
                  <a:gd name="connsiteX1" fmla="*/ 358496 w 367004"/>
                  <a:gd name="connsiteY1" fmla="*/ 127458 h 506072"/>
                  <a:gd name="connsiteX2" fmla="*/ 271544 w 367004"/>
                  <a:gd name="connsiteY2" fmla="*/ 473556 h 506072"/>
                  <a:gd name="connsiteX3" fmla="*/ 105800 w 367004"/>
                  <a:gd name="connsiteY3" fmla="*/ 479165 h 506072"/>
                  <a:gd name="connsiteX4" fmla="*/ 2018 w 367004"/>
                  <a:gd name="connsiteY4" fmla="*/ 152703 h 506072"/>
                  <a:gd name="connsiteX0" fmla="*/ 2018 w 367004"/>
                  <a:gd name="connsiteY0" fmla="*/ 152703 h 508676"/>
                  <a:gd name="connsiteX1" fmla="*/ 358496 w 367004"/>
                  <a:gd name="connsiteY1" fmla="*/ 127458 h 508676"/>
                  <a:gd name="connsiteX2" fmla="*/ 271544 w 367004"/>
                  <a:gd name="connsiteY2" fmla="*/ 473556 h 508676"/>
                  <a:gd name="connsiteX3" fmla="*/ 105800 w 367004"/>
                  <a:gd name="connsiteY3" fmla="*/ 479165 h 508676"/>
                  <a:gd name="connsiteX4" fmla="*/ 2018 w 367004"/>
                  <a:gd name="connsiteY4" fmla="*/ 152703 h 508676"/>
                  <a:gd name="connsiteX0" fmla="*/ 2564 w 367550"/>
                  <a:gd name="connsiteY0" fmla="*/ 152703 h 508676"/>
                  <a:gd name="connsiteX1" fmla="*/ 359042 w 367550"/>
                  <a:gd name="connsiteY1" fmla="*/ 127458 h 508676"/>
                  <a:gd name="connsiteX2" fmla="*/ 272090 w 367550"/>
                  <a:gd name="connsiteY2" fmla="*/ 473556 h 508676"/>
                  <a:gd name="connsiteX3" fmla="*/ 106346 w 367550"/>
                  <a:gd name="connsiteY3" fmla="*/ 479165 h 508676"/>
                  <a:gd name="connsiteX4" fmla="*/ 2564 w 367550"/>
                  <a:gd name="connsiteY4" fmla="*/ 152703 h 508676"/>
                  <a:gd name="connsiteX0" fmla="*/ 2564 w 367550"/>
                  <a:gd name="connsiteY0" fmla="*/ 152703 h 506923"/>
                  <a:gd name="connsiteX1" fmla="*/ 359042 w 367550"/>
                  <a:gd name="connsiteY1" fmla="*/ 127458 h 506923"/>
                  <a:gd name="connsiteX2" fmla="*/ 272090 w 367550"/>
                  <a:gd name="connsiteY2" fmla="*/ 473556 h 506923"/>
                  <a:gd name="connsiteX3" fmla="*/ 106346 w 367550"/>
                  <a:gd name="connsiteY3" fmla="*/ 479165 h 506923"/>
                  <a:gd name="connsiteX4" fmla="*/ 2564 w 367550"/>
                  <a:gd name="connsiteY4" fmla="*/ 152703 h 506923"/>
                  <a:gd name="connsiteX0" fmla="*/ 2564 w 369367"/>
                  <a:gd name="connsiteY0" fmla="*/ 152703 h 506923"/>
                  <a:gd name="connsiteX1" fmla="*/ 359042 w 369367"/>
                  <a:gd name="connsiteY1" fmla="*/ 127458 h 506923"/>
                  <a:gd name="connsiteX2" fmla="*/ 272090 w 369367"/>
                  <a:gd name="connsiteY2" fmla="*/ 473556 h 506923"/>
                  <a:gd name="connsiteX3" fmla="*/ 106346 w 369367"/>
                  <a:gd name="connsiteY3" fmla="*/ 479165 h 506923"/>
                  <a:gd name="connsiteX4" fmla="*/ 2564 w 369367"/>
                  <a:gd name="connsiteY4" fmla="*/ 152703 h 50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367" h="506923">
                    <a:moveTo>
                      <a:pt x="2564" y="152703"/>
                    </a:moveTo>
                    <a:cubicBezTo>
                      <a:pt x="34438" y="-45510"/>
                      <a:pt x="299118" y="-47383"/>
                      <a:pt x="359042" y="127458"/>
                    </a:cubicBezTo>
                    <a:cubicBezTo>
                      <a:pt x="395680" y="264019"/>
                      <a:pt x="327253" y="421767"/>
                      <a:pt x="272090" y="473556"/>
                    </a:cubicBezTo>
                    <a:cubicBezTo>
                      <a:pt x="226192" y="525915"/>
                      <a:pt x="133372" y="507837"/>
                      <a:pt x="106346" y="479165"/>
                    </a:cubicBezTo>
                    <a:cubicBezTo>
                      <a:pt x="33274" y="429570"/>
                      <a:pt x="-11460" y="291443"/>
                      <a:pt x="2564" y="152703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2" name="Freeform 141"/>
              <p:cNvSpPr/>
              <p:nvPr/>
            </p:nvSpPr>
            <p:spPr>
              <a:xfrm>
                <a:off x="5245245" y="2932068"/>
                <a:ext cx="137797" cy="111532"/>
              </a:xfrm>
              <a:custGeom>
                <a:avLst/>
                <a:gdLst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301839 w 2220650"/>
                  <a:gd name="connsiteY8" fmla="*/ 237328 h 1797379"/>
                  <a:gd name="connsiteX9" fmla="*/ 1329413 w 2220650"/>
                  <a:gd name="connsiteY9" fmla="*/ 304839 h 1797379"/>
                  <a:gd name="connsiteX10" fmla="*/ 1599180 w 2220650"/>
                  <a:gd name="connsiteY10" fmla="*/ 789375 h 1797379"/>
                  <a:gd name="connsiteX11" fmla="*/ 1701318 w 2220650"/>
                  <a:gd name="connsiteY11" fmla="*/ 849427 h 1797379"/>
                  <a:gd name="connsiteX12" fmla="*/ 2160043 w 2220650"/>
                  <a:gd name="connsiteY12" fmla="*/ 1111553 h 1797379"/>
                  <a:gd name="connsiteX13" fmla="*/ 2208425 w 2220650"/>
                  <a:gd name="connsiteY13" fmla="*/ 1261237 h 1797379"/>
                  <a:gd name="connsiteX14" fmla="*/ 2205104 w 2220650"/>
                  <a:gd name="connsiteY14" fmla="*/ 1267730 h 1797379"/>
                  <a:gd name="connsiteX15" fmla="*/ 2055421 w 2220650"/>
                  <a:gd name="connsiteY15" fmla="*/ 1316112 h 1797379"/>
                  <a:gd name="connsiteX16" fmla="*/ 1413298 w 2220650"/>
                  <a:gd name="connsiteY16" fmla="*/ 987697 h 1797379"/>
                  <a:gd name="connsiteX17" fmla="*/ 1359851 w 2220650"/>
                  <a:gd name="connsiteY17" fmla="*/ 941739 h 1797379"/>
                  <a:gd name="connsiteX18" fmla="*/ 1321426 w 2220650"/>
                  <a:gd name="connsiteY18" fmla="*/ 899153 h 1797379"/>
                  <a:gd name="connsiteX19" fmla="*/ 1404334 w 2220650"/>
                  <a:gd name="connsiteY19" fmla="*/ 1786499 h 1797379"/>
                  <a:gd name="connsiteX20" fmla="*/ 473257 w 2220650"/>
                  <a:gd name="connsiteY20" fmla="*/ 1797379 h 1797379"/>
                  <a:gd name="connsiteX21" fmla="*/ 491299 w 2220650"/>
                  <a:gd name="connsiteY21" fmla="*/ 1119375 h 1797379"/>
                  <a:gd name="connsiteX22" fmla="*/ 458022 w 2220650"/>
                  <a:gd name="connsiteY22" fmla="*/ 615484 h 1797379"/>
                  <a:gd name="connsiteX23" fmla="*/ 293128 w 2220650"/>
                  <a:gd name="connsiteY23" fmla="*/ 924571 h 1797379"/>
                  <a:gd name="connsiteX24" fmla="*/ 449319 w 2220650"/>
                  <a:gd name="connsiteY24" fmla="*/ 1615870 h 1797379"/>
                  <a:gd name="connsiteX25" fmla="*/ 378364 w 2220650"/>
                  <a:gd name="connsiteY25" fmla="*/ 1733837 h 1797379"/>
                  <a:gd name="connsiteX26" fmla="*/ 310090 w 2220650"/>
                  <a:gd name="connsiteY26" fmla="*/ 1750829 h 1797379"/>
                  <a:gd name="connsiteX27" fmla="*/ 192122 w 2220650"/>
                  <a:gd name="connsiteY27" fmla="*/ 1679875 h 1797379"/>
                  <a:gd name="connsiteX28" fmla="*/ 2904 w 2220650"/>
                  <a:gd name="connsiteY28" fmla="*/ 919508 h 1797379"/>
                  <a:gd name="connsiteX29" fmla="*/ 13947 w 2220650"/>
                  <a:gd name="connsiteY29" fmla="*/ 845829 h 1797379"/>
                  <a:gd name="connsiteX30" fmla="*/ 39863 w 2220650"/>
                  <a:gd name="connsiteY30" fmla="*/ 789457 h 1797379"/>
                  <a:gd name="connsiteX31" fmla="*/ 386519 w 2220650"/>
                  <a:gd name="connsiteY31" fmla="*/ 139659 h 1797379"/>
                  <a:gd name="connsiteX32" fmla="*/ 743545 w 2220650"/>
                  <a:gd name="connsiteY32" fmla="*/ 556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301839 w 2220650"/>
                  <a:gd name="connsiteY8" fmla="*/ 237328 h 1797379"/>
                  <a:gd name="connsiteX9" fmla="*/ 1599180 w 2220650"/>
                  <a:gd name="connsiteY9" fmla="*/ 789375 h 1797379"/>
                  <a:gd name="connsiteX10" fmla="*/ 1701318 w 2220650"/>
                  <a:gd name="connsiteY10" fmla="*/ 849427 h 1797379"/>
                  <a:gd name="connsiteX11" fmla="*/ 2160043 w 2220650"/>
                  <a:gd name="connsiteY11" fmla="*/ 1111553 h 1797379"/>
                  <a:gd name="connsiteX12" fmla="*/ 2208425 w 2220650"/>
                  <a:gd name="connsiteY12" fmla="*/ 1261237 h 1797379"/>
                  <a:gd name="connsiteX13" fmla="*/ 2205104 w 2220650"/>
                  <a:gd name="connsiteY13" fmla="*/ 1267730 h 1797379"/>
                  <a:gd name="connsiteX14" fmla="*/ 2055421 w 2220650"/>
                  <a:gd name="connsiteY14" fmla="*/ 1316112 h 1797379"/>
                  <a:gd name="connsiteX15" fmla="*/ 1413298 w 2220650"/>
                  <a:gd name="connsiteY15" fmla="*/ 987697 h 1797379"/>
                  <a:gd name="connsiteX16" fmla="*/ 1359851 w 2220650"/>
                  <a:gd name="connsiteY16" fmla="*/ 941739 h 1797379"/>
                  <a:gd name="connsiteX17" fmla="*/ 1321426 w 2220650"/>
                  <a:gd name="connsiteY17" fmla="*/ 899153 h 1797379"/>
                  <a:gd name="connsiteX18" fmla="*/ 1404334 w 2220650"/>
                  <a:gd name="connsiteY18" fmla="*/ 1786499 h 1797379"/>
                  <a:gd name="connsiteX19" fmla="*/ 473257 w 2220650"/>
                  <a:gd name="connsiteY19" fmla="*/ 1797379 h 1797379"/>
                  <a:gd name="connsiteX20" fmla="*/ 491299 w 2220650"/>
                  <a:gd name="connsiteY20" fmla="*/ 1119375 h 1797379"/>
                  <a:gd name="connsiteX21" fmla="*/ 458022 w 2220650"/>
                  <a:gd name="connsiteY21" fmla="*/ 615484 h 1797379"/>
                  <a:gd name="connsiteX22" fmla="*/ 293128 w 2220650"/>
                  <a:gd name="connsiteY22" fmla="*/ 924571 h 1797379"/>
                  <a:gd name="connsiteX23" fmla="*/ 449319 w 2220650"/>
                  <a:gd name="connsiteY23" fmla="*/ 1615870 h 1797379"/>
                  <a:gd name="connsiteX24" fmla="*/ 378364 w 2220650"/>
                  <a:gd name="connsiteY24" fmla="*/ 1733837 h 1797379"/>
                  <a:gd name="connsiteX25" fmla="*/ 310090 w 2220650"/>
                  <a:gd name="connsiteY25" fmla="*/ 1750829 h 1797379"/>
                  <a:gd name="connsiteX26" fmla="*/ 192122 w 2220650"/>
                  <a:gd name="connsiteY26" fmla="*/ 1679875 h 1797379"/>
                  <a:gd name="connsiteX27" fmla="*/ 2904 w 2220650"/>
                  <a:gd name="connsiteY27" fmla="*/ 919508 h 1797379"/>
                  <a:gd name="connsiteX28" fmla="*/ 13947 w 2220650"/>
                  <a:gd name="connsiteY28" fmla="*/ 845829 h 1797379"/>
                  <a:gd name="connsiteX29" fmla="*/ 39863 w 2220650"/>
                  <a:gd name="connsiteY29" fmla="*/ 789457 h 1797379"/>
                  <a:gd name="connsiteX30" fmla="*/ 386519 w 2220650"/>
                  <a:gd name="connsiteY30" fmla="*/ 139659 h 1797379"/>
                  <a:gd name="connsiteX31" fmla="*/ 743545 w 2220650"/>
                  <a:gd name="connsiteY31" fmla="*/ 556 h 1797379"/>
                  <a:gd name="connsiteX32" fmla="*/ 790694 w 2220650"/>
                  <a:gd name="connsiteY32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301839 w 2220650"/>
                  <a:gd name="connsiteY8" fmla="*/ 237328 h 1797379"/>
                  <a:gd name="connsiteX9" fmla="*/ 1599180 w 2220650"/>
                  <a:gd name="connsiteY9" fmla="*/ 789375 h 1797379"/>
                  <a:gd name="connsiteX10" fmla="*/ 1701318 w 2220650"/>
                  <a:gd name="connsiteY10" fmla="*/ 849427 h 1797379"/>
                  <a:gd name="connsiteX11" fmla="*/ 2160043 w 2220650"/>
                  <a:gd name="connsiteY11" fmla="*/ 1111553 h 1797379"/>
                  <a:gd name="connsiteX12" fmla="*/ 2208425 w 2220650"/>
                  <a:gd name="connsiteY12" fmla="*/ 1261237 h 1797379"/>
                  <a:gd name="connsiteX13" fmla="*/ 2205104 w 2220650"/>
                  <a:gd name="connsiteY13" fmla="*/ 1267730 h 1797379"/>
                  <a:gd name="connsiteX14" fmla="*/ 2055421 w 2220650"/>
                  <a:gd name="connsiteY14" fmla="*/ 1316112 h 1797379"/>
                  <a:gd name="connsiteX15" fmla="*/ 1413298 w 2220650"/>
                  <a:gd name="connsiteY15" fmla="*/ 987697 h 1797379"/>
                  <a:gd name="connsiteX16" fmla="*/ 1359851 w 2220650"/>
                  <a:gd name="connsiteY16" fmla="*/ 941739 h 1797379"/>
                  <a:gd name="connsiteX17" fmla="*/ 1321426 w 2220650"/>
                  <a:gd name="connsiteY17" fmla="*/ 899153 h 1797379"/>
                  <a:gd name="connsiteX18" fmla="*/ 1404334 w 2220650"/>
                  <a:gd name="connsiteY18" fmla="*/ 1786499 h 1797379"/>
                  <a:gd name="connsiteX19" fmla="*/ 473257 w 2220650"/>
                  <a:gd name="connsiteY19" fmla="*/ 1797379 h 1797379"/>
                  <a:gd name="connsiteX20" fmla="*/ 491299 w 2220650"/>
                  <a:gd name="connsiteY20" fmla="*/ 1119375 h 1797379"/>
                  <a:gd name="connsiteX21" fmla="*/ 458022 w 2220650"/>
                  <a:gd name="connsiteY21" fmla="*/ 615484 h 1797379"/>
                  <a:gd name="connsiteX22" fmla="*/ 293128 w 2220650"/>
                  <a:gd name="connsiteY22" fmla="*/ 924571 h 1797379"/>
                  <a:gd name="connsiteX23" fmla="*/ 449319 w 2220650"/>
                  <a:gd name="connsiteY23" fmla="*/ 1615870 h 1797379"/>
                  <a:gd name="connsiteX24" fmla="*/ 378364 w 2220650"/>
                  <a:gd name="connsiteY24" fmla="*/ 1733837 h 1797379"/>
                  <a:gd name="connsiteX25" fmla="*/ 310090 w 2220650"/>
                  <a:gd name="connsiteY25" fmla="*/ 1750829 h 1797379"/>
                  <a:gd name="connsiteX26" fmla="*/ 192122 w 2220650"/>
                  <a:gd name="connsiteY26" fmla="*/ 1679875 h 1797379"/>
                  <a:gd name="connsiteX27" fmla="*/ 2904 w 2220650"/>
                  <a:gd name="connsiteY27" fmla="*/ 919508 h 1797379"/>
                  <a:gd name="connsiteX28" fmla="*/ 13947 w 2220650"/>
                  <a:gd name="connsiteY28" fmla="*/ 845829 h 1797379"/>
                  <a:gd name="connsiteX29" fmla="*/ 39863 w 2220650"/>
                  <a:gd name="connsiteY29" fmla="*/ 789457 h 1797379"/>
                  <a:gd name="connsiteX30" fmla="*/ 386519 w 2220650"/>
                  <a:gd name="connsiteY30" fmla="*/ 139659 h 1797379"/>
                  <a:gd name="connsiteX31" fmla="*/ 743545 w 2220650"/>
                  <a:gd name="connsiteY31" fmla="*/ 556 h 1797379"/>
                  <a:gd name="connsiteX32" fmla="*/ 790694 w 2220650"/>
                  <a:gd name="connsiteY32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301839 w 2220650"/>
                  <a:gd name="connsiteY8" fmla="*/ 237328 h 1797379"/>
                  <a:gd name="connsiteX9" fmla="*/ 1599180 w 2220650"/>
                  <a:gd name="connsiteY9" fmla="*/ 789375 h 1797379"/>
                  <a:gd name="connsiteX10" fmla="*/ 1701318 w 2220650"/>
                  <a:gd name="connsiteY10" fmla="*/ 849427 h 1797379"/>
                  <a:gd name="connsiteX11" fmla="*/ 2160043 w 2220650"/>
                  <a:gd name="connsiteY11" fmla="*/ 1111553 h 1797379"/>
                  <a:gd name="connsiteX12" fmla="*/ 2208425 w 2220650"/>
                  <a:gd name="connsiteY12" fmla="*/ 1261237 h 1797379"/>
                  <a:gd name="connsiteX13" fmla="*/ 2205104 w 2220650"/>
                  <a:gd name="connsiteY13" fmla="*/ 1267730 h 1797379"/>
                  <a:gd name="connsiteX14" fmla="*/ 2055421 w 2220650"/>
                  <a:gd name="connsiteY14" fmla="*/ 1316112 h 1797379"/>
                  <a:gd name="connsiteX15" fmla="*/ 1413298 w 2220650"/>
                  <a:gd name="connsiteY15" fmla="*/ 987697 h 1797379"/>
                  <a:gd name="connsiteX16" fmla="*/ 1359851 w 2220650"/>
                  <a:gd name="connsiteY16" fmla="*/ 941739 h 1797379"/>
                  <a:gd name="connsiteX17" fmla="*/ 1321426 w 2220650"/>
                  <a:gd name="connsiteY17" fmla="*/ 899153 h 1797379"/>
                  <a:gd name="connsiteX18" fmla="*/ 1404334 w 2220650"/>
                  <a:gd name="connsiteY18" fmla="*/ 1786499 h 1797379"/>
                  <a:gd name="connsiteX19" fmla="*/ 473257 w 2220650"/>
                  <a:gd name="connsiteY19" fmla="*/ 1797379 h 1797379"/>
                  <a:gd name="connsiteX20" fmla="*/ 491299 w 2220650"/>
                  <a:gd name="connsiteY20" fmla="*/ 1119375 h 1797379"/>
                  <a:gd name="connsiteX21" fmla="*/ 458022 w 2220650"/>
                  <a:gd name="connsiteY21" fmla="*/ 615484 h 1797379"/>
                  <a:gd name="connsiteX22" fmla="*/ 293128 w 2220650"/>
                  <a:gd name="connsiteY22" fmla="*/ 924571 h 1797379"/>
                  <a:gd name="connsiteX23" fmla="*/ 449319 w 2220650"/>
                  <a:gd name="connsiteY23" fmla="*/ 1615870 h 1797379"/>
                  <a:gd name="connsiteX24" fmla="*/ 378364 w 2220650"/>
                  <a:gd name="connsiteY24" fmla="*/ 1733837 h 1797379"/>
                  <a:gd name="connsiteX25" fmla="*/ 310090 w 2220650"/>
                  <a:gd name="connsiteY25" fmla="*/ 1750829 h 1797379"/>
                  <a:gd name="connsiteX26" fmla="*/ 192122 w 2220650"/>
                  <a:gd name="connsiteY26" fmla="*/ 1679875 h 1797379"/>
                  <a:gd name="connsiteX27" fmla="*/ 2904 w 2220650"/>
                  <a:gd name="connsiteY27" fmla="*/ 919508 h 1797379"/>
                  <a:gd name="connsiteX28" fmla="*/ 13947 w 2220650"/>
                  <a:gd name="connsiteY28" fmla="*/ 845829 h 1797379"/>
                  <a:gd name="connsiteX29" fmla="*/ 39863 w 2220650"/>
                  <a:gd name="connsiteY29" fmla="*/ 789457 h 1797379"/>
                  <a:gd name="connsiteX30" fmla="*/ 386519 w 2220650"/>
                  <a:gd name="connsiteY30" fmla="*/ 139659 h 1797379"/>
                  <a:gd name="connsiteX31" fmla="*/ 743545 w 2220650"/>
                  <a:gd name="connsiteY31" fmla="*/ 556 h 1797379"/>
                  <a:gd name="connsiteX32" fmla="*/ 790694 w 2220650"/>
                  <a:gd name="connsiteY32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10430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10430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10430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10430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220650" h="1797379">
                    <a:moveTo>
                      <a:pt x="790694" y="0"/>
                    </a:moveTo>
                    <a:lnTo>
                      <a:pt x="861621" y="285222"/>
                    </a:lnTo>
                    <a:lnTo>
                      <a:pt x="1007580" y="460627"/>
                    </a:lnTo>
                    <a:cubicBezTo>
                      <a:pt x="1050058" y="359702"/>
                      <a:pt x="1069906" y="328384"/>
                      <a:pt x="1092304" y="245998"/>
                    </a:cubicBezTo>
                    <a:cubicBezTo>
                      <a:pt x="1083087" y="178693"/>
                      <a:pt x="1075424" y="132545"/>
                      <a:pt x="1065655" y="78086"/>
                    </a:cubicBezTo>
                    <a:lnTo>
                      <a:pt x="1052202" y="4276"/>
                    </a:lnTo>
                    <a:lnTo>
                      <a:pt x="1130087" y="13588"/>
                    </a:lnTo>
                    <a:cubicBezTo>
                      <a:pt x="1236203" y="44175"/>
                      <a:pt x="1287032" y="168989"/>
                      <a:pt x="1310430" y="234549"/>
                    </a:cubicBezTo>
                    <a:cubicBezTo>
                      <a:pt x="1382843" y="404231"/>
                      <a:pt x="1529705" y="747471"/>
                      <a:pt x="1599180" y="789375"/>
                    </a:cubicBezTo>
                    <a:lnTo>
                      <a:pt x="1701318" y="849427"/>
                    </a:lnTo>
                    <a:cubicBezTo>
                      <a:pt x="1854226" y="936802"/>
                      <a:pt x="1997641" y="1028492"/>
                      <a:pt x="2160043" y="1111553"/>
                    </a:cubicBezTo>
                    <a:cubicBezTo>
                      <a:pt x="2214738" y="1139527"/>
                      <a:pt x="2236399" y="1206542"/>
                      <a:pt x="2208425" y="1261237"/>
                    </a:cubicBezTo>
                    <a:lnTo>
                      <a:pt x="2205104" y="1267730"/>
                    </a:lnTo>
                    <a:cubicBezTo>
                      <a:pt x="2177131" y="1322424"/>
                      <a:pt x="2110116" y="1344086"/>
                      <a:pt x="2055421" y="1316112"/>
                    </a:cubicBezTo>
                    <a:lnTo>
                      <a:pt x="1413298" y="987697"/>
                    </a:lnTo>
                    <a:cubicBezTo>
                      <a:pt x="1391911" y="975057"/>
                      <a:pt x="1375286" y="958844"/>
                      <a:pt x="1359851" y="941739"/>
                    </a:cubicBezTo>
                    <a:lnTo>
                      <a:pt x="1321426" y="899153"/>
                    </a:lnTo>
                    <a:cubicBezTo>
                      <a:pt x="1343293" y="1223780"/>
                      <a:pt x="1365159" y="1482064"/>
                      <a:pt x="1404334" y="1786499"/>
                    </a:cubicBezTo>
                    <a:cubicBezTo>
                      <a:pt x="1093065" y="1786499"/>
                      <a:pt x="784525" y="1797379"/>
                      <a:pt x="473257" y="1797379"/>
                    </a:cubicBezTo>
                    <a:cubicBezTo>
                      <a:pt x="474842" y="1578902"/>
                      <a:pt x="492921" y="1345822"/>
                      <a:pt x="491299" y="1119375"/>
                    </a:cubicBezTo>
                    <a:lnTo>
                      <a:pt x="458022" y="615484"/>
                    </a:lnTo>
                    <a:lnTo>
                      <a:pt x="293128" y="924571"/>
                    </a:lnTo>
                    <a:lnTo>
                      <a:pt x="449319" y="1615870"/>
                    </a:lnTo>
                    <a:cubicBezTo>
                      <a:pt x="462301" y="1668040"/>
                      <a:pt x="430534" y="1720857"/>
                      <a:pt x="378364" y="1733837"/>
                    </a:cubicBezTo>
                    <a:lnTo>
                      <a:pt x="310090" y="1750829"/>
                    </a:lnTo>
                    <a:cubicBezTo>
                      <a:pt x="257920" y="1763811"/>
                      <a:pt x="205104" y="1732044"/>
                      <a:pt x="192122" y="1679875"/>
                    </a:cubicBezTo>
                    <a:lnTo>
                      <a:pt x="2904" y="919508"/>
                    </a:lnTo>
                    <a:cubicBezTo>
                      <a:pt x="-3588" y="893424"/>
                      <a:pt x="1108" y="867177"/>
                      <a:pt x="13947" y="845829"/>
                    </a:cubicBezTo>
                    <a:lnTo>
                      <a:pt x="39863" y="789457"/>
                    </a:lnTo>
                    <a:lnTo>
                      <a:pt x="386519" y="139659"/>
                    </a:lnTo>
                    <a:cubicBezTo>
                      <a:pt x="488895" y="725"/>
                      <a:pt x="663135" y="4131"/>
                      <a:pt x="743545" y="556"/>
                    </a:cubicBezTo>
                    <a:lnTo>
                      <a:pt x="790694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3" name="Rectangle 1"/>
              <p:cNvSpPr/>
              <p:nvPr/>
            </p:nvSpPr>
            <p:spPr>
              <a:xfrm rot="542390" flipH="1">
                <a:off x="5422316" y="2881317"/>
                <a:ext cx="33514" cy="44319"/>
              </a:xfrm>
              <a:custGeom>
                <a:avLst/>
                <a:gdLst>
                  <a:gd name="connsiteX0" fmla="*/ 0 w 665018"/>
                  <a:gd name="connsiteY0" fmla="*/ 0 h 522806"/>
                  <a:gd name="connsiteX1" fmla="*/ 665018 w 665018"/>
                  <a:gd name="connsiteY1" fmla="*/ 0 h 522806"/>
                  <a:gd name="connsiteX2" fmla="*/ 665018 w 665018"/>
                  <a:gd name="connsiteY2" fmla="*/ 522806 h 522806"/>
                  <a:gd name="connsiteX3" fmla="*/ 0 w 665018"/>
                  <a:gd name="connsiteY3" fmla="*/ 522806 h 522806"/>
                  <a:gd name="connsiteX4" fmla="*/ 0 w 665018"/>
                  <a:gd name="connsiteY4" fmla="*/ 0 h 522806"/>
                  <a:gd name="connsiteX0" fmla="*/ 0 w 665018"/>
                  <a:gd name="connsiteY0" fmla="*/ 0 h 522806"/>
                  <a:gd name="connsiteX1" fmla="*/ 665018 w 665018"/>
                  <a:gd name="connsiteY1" fmla="*/ 0 h 522806"/>
                  <a:gd name="connsiteX2" fmla="*/ 665018 w 665018"/>
                  <a:gd name="connsiteY2" fmla="*/ 522806 h 522806"/>
                  <a:gd name="connsiteX3" fmla="*/ 266466 w 665018"/>
                  <a:gd name="connsiteY3" fmla="*/ 505977 h 522806"/>
                  <a:gd name="connsiteX4" fmla="*/ 0 w 665018"/>
                  <a:gd name="connsiteY4" fmla="*/ 0 h 522806"/>
                  <a:gd name="connsiteX0" fmla="*/ 56099 w 398552"/>
                  <a:gd name="connsiteY0" fmla="*/ 159880 h 522806"/>
                  <a:gd name="connsiteX1" fmla="*/ 398552 w 398552"/>
                  <a:gd name="connsiteY1" fmla="*/ 0 h 522806"/>
                  <a:gd name="connsiteX2" fmla="*/ 398552 w 398552"/>
                  <a:gd name="connsiteY2" fmla="*/ 522806 h 522806"/>
                  <a:gd name="connsiteX3" fmla="*/ 0 w 398552"/>
                  <a:gd name="connsiteY3" fmla="*/ 505977 h 522806"/>
                  <a:gd name="connsiteX4" fmla="*/ 56099 w 398552"/>
                  <a:gd name="connsiteY4" fmla="*/ 159880 h 522806"/>
                  <a:gd name="connsiteX0" fmla="*/ 0 w 507943"/>
                  <a:gd name="connsiteY0" fmla="*/ 157075 h 522806"/>
                  <a:gd name="connsiteX1" fmla="*/ 507943 w 507943"/>
                  <a:gd name="connsiteY1" fmla="*/ 0 h 522806"/>
                  <a:gd name="connsiteX2" fmla="*/ 507943 w 507943"/>
                  <a:gd name="connsiteY2" fmla="*/ 522806 h 522806"/>
                  <a:gd name="connsiteX3" fmla="*/ 109391 w 507943"/>
                  <a:gd name="connsiteY3" fmla="*/ 505977 h 522806"/>
                  <a:gd name="connsiteX4" fmla="*/ 0 w 507943"/>
                  <a:gd name="connsiteY4" fmla="*/ 157075 h 522806"/>
                  <a:gd name="connsiteX0" fmla="*/ 0 w 507943"/>
                  <a:gd name="connsiteY0" fmla="*/ 157075 h 522806"/>
                  <a:gd name="connsiteX1" fmla="*/ 507943 w 507943"/>
                  <a:gd name="connsiteY1" fmla="*/ 0 h 522806"/>
                  <a:gd name="connsiteX2" fmla="*/ 507943 w 507943"/>
                  <a:gd name="connsiteY2" fmla="*/ 522806 h 522806"/>
                  <a:gd name="connsiteX3" fmla="*/ 109391 w 507943"/>
                  <a:gd name="connsiteY3" fmla="*/ 505977 h 522806"/>
                  <a:gd name="connsiteX4" fmla="*/ 0 w 507943"/>
                  <a:gd name="connsiteY4" fmla="*/ 157075 h 522806"/>
                  <a:gd name="connsiteX0" fmla="*/ 0 w 507943"/>
                  <a:gd name="connsiteY0" fmla="*/ 79373 h 445104"/>
                  <a:gd name="connsiteX1" fmla="*/ 216233 w 507943"/>
                  <a:gd name="connsiteY1" fmla="*/ 76568 h 445104"/>
                  <a:gd name="connsiteX2" fmla="*/ 507943 w 507943"/>
                  <a:gd name="connsiteY2" fmla="*/ 445104 h 445104"/>
                  <a:gd name="connsiteX3" fmla="*/ 109391 w 507943"/>
                  <a:gd name="connsiteY3" fmla="*/ 428275 h 445104"/>
                  <a:gd name="connsiteX4" fmla="*/ 0 w 507943"/>
                  <a:gd name="connsiteY4" fmla="*/ 79373 h 445104"/>
                  <a:gd name="connsiteX0" fmla="*/ 0 w 507943"/>
                  <a:gd name="connsiteY0" fmla="*/ 108291 h 474022"/>
                  <a:gd name="connsiteX1" fmla="*/ 216233 w 507943"/>
                  <a:gd name="connsiteY1" fmla="*/ 105486 h 474022"/>
                  <a:gd name="connsiteX2" fmla="*/ 507943 w 507943"/>
                  <a:gd name="connsiteY2" fmla="*/ 474022 h 474022"/>
                  <a:gd name="connsiteX3" fmla="*/ 109391 w 507943"/>
                  <a:gd name="connsiteY3" fmla="*/ 457193 h 474022"/>
                  <a:gd name="connsiteX4" fmla="*/ 0 w 507943"/>
                  <a:gd name="connsiteY4" fmla="*/ 108291 h 474022"/>
                  <a:gd name="connsiteX0" fmla="*/ 0 w 507943"/>
                  <a:gd name="connsiteY0" fmla="*/ 122543 h 488274"/>
                  <a:gd name="connsiteX1" fmla="*/ 353673 w 507943"/>
                  <a:gd name="connsiteY1" fmla="*/ 83274 h 488274"/>
                  <a:gd name="connsiteX2" fmla="*/ 507943 w 507943"/>
                  <a:gd name="connsiteY2" fmla="*/ 488274 h 488274"/>
                  <a:gd name="connsiteX3" fmla="*/ 109391 w 507943"/>
                  <a:gd name="connsiteY3" fmla="*/ 471445 h 488274"/>
                  <a:gd name="connsiteX4" fmla="*/ 0 w 507943"/>
                  <a:gd name="connsiteY4" fmla="*/ 122543 h 488274"/>
                  <a:gd name="connsiteX0" fmla="*/ 0 w 353673"/>
                  <a:gd name="connsiteY0" fmla="*/ 122543 h 471445"/>
                  <a:gd name="connsiteX1" fmla="*/ 353673 w 353673"/>
                  <a:gd name="connsiteY1" fmla="*/ 83274 h 471445"/>
                  <a:gd name="connsiteX2" fmla="*/ 176964 w 353673"/>
                  <a:gd name="connsiteY2" fmla="*/ 376078 h 471445"/>
                  <a:gd name="connsiteX3" fmla="*/ 109391 w 353673"/>
                  <a:gd name="connsiteY3" fmla="*/ 471445 h 471445"/>
                  <a:gd name="connsiteX4" fmla="*/ 0 w 353673"/>
                  <a:gd name="connsiteY4" fmla="*/ 122543 h 471445"/>
                  <a:gd name="connsiteX0" fmla="*/ 0 w 353673"/>
                  <a:gd name="connsiteY0" fmla="*/ 122543 h 471445"/>
                  <a:gd name="connsiteX1" fmla="*/ 353673 w 353673"/>
                  <a:gd name="connsiteY1" fmla="*/ 83274 h 471445"/>
                  <a:gd name="connsiteX2" fmla="*/ 272331 w 353673"/>
                  <a:gd name="connsiteY2" fmla="*/ 440591 h 471445"/>
                  <a:gd name="connsiteX3" fmla="*/ 109391 w 353673"/>
                  <a:gd name="connsiteY3" fmla="*/ 471445 h 471445"/>
                  <a:gd name="connsiteX4" fmla="*/ 0 w 353673"/>
                  <a:gd name="connsiteY4" fmla="*/ 122543 h 471445"/>
                  <a:gd name="connsiteX0" fmla="*/ 0 w 353673"/>
                  <a:gd name="connsiteY0" fmla="*/ 122543 h 472875"/>
                  <a:gd name="connsiteX1" fmla="*/ 353673 w 353673"/>
                  <a:gd name="connsiteY1" fmla="*/ 83274 h 472875"/>
                  <a:gd name="connsiteX2" fmla="*/ 272331 w 353673"/>
                  <a:gd name="connsiteY2" fmla="*/ 440591 h 472875"/>
                  <a:gd name="connsiteX3" fmla="*/ 109391 w 353673"/>
                  <a:gd name="connsiteY3" fmla="*/ 471445 h 472875"/>
                  <a:gd name="connsiteX4" fmla="*/ 0 w 353673"/>
                  <a:gd name="connsiteY4" fmla="*/ 122543 h 472875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8355 h 496033"/>
                  <a:gd name="connsiteX1" fmla="*/ 353673 w 353673"/>
                  <a:gd name="connsiteY1" fmla="*/ 89086 h 496033"/>
                  <a:gd name="connsiteX2" fmla="*/ 272331 w 353673"/>
                  <a:gd name="connsiteY2" fmla="*/ 446403 h 496033"/>
                  <a:gd name="connsiteX3" fmla="*/ 109391 w 353673"/>
                  <a:gd name="connsiteY3" fmla="*/ 477257 h 496033"/>
                  <a:gd name="connsiteX4" fmla="*/ 0 w 353673"/>
                  <a:gd name="connsiteY4" fmla="*/ 128355 h 496033"/>
                  <a:gd name="connsiteX0" fmla="*/ 0 w 355143"/>
                  <a:gd name="connsiteY0" fmla="*/ 128355 h 496033"/>
                  <a:gd name="connsiteX1" fmla="*/ 353673 w 355143"/>
                  <a:gd name="connsiteY1" fmla="*/ 89086 h 496033"/>
                  <a:gd name="connsiteX2" fmla="*/ 272331 w 355143"/>
                  <a:gd name="connsiteY2" fmla="*/ 446403 h 496033"/>
                  <a:gd name="connsiteX3" fmla="*/ 109391 w 355143"/>
                  <a:gd name="connsiteY3" fmla="*/ 477257 h 496033"/>
                  <a:gd name="connsiteX4" fmla="*/ 0 w 355143"/>
                  <a:gd name="connsiteY4" fmla="*/ 128355 h 496033"/>
                  <a:gd name="connsiteX0" fmla="*/ 0 w 355930"/>
                  <a:gd name="connsiteY0" fmla="*/ 128355 h 496033"/>
                  <a:gd name="connsiteX1" fmla="*/ 353673 w 355930"/>
                  <a:gd name="connsiteY1" fmla="*/ 89086 h 496033"/>
                  <a:gd name="connsiteX2" fmla="*/ 272331 w 355930"/>
                  <a:gd name="connsiteY2" fmla="*/ 446403 h 496033"/>
                  <a:gd name="connsiteX3" fmla="*/ 109391 w 355930"/>
                  <a:gd name="connsiteY3" fmla="*/ 477257 h 496033"/>
                  <a:gd name="connsiteX4" fmla="*/ 0 w 355930"/>
                  <a:gd name="connsiteY4" fmla="*/ 128355 h 496033"/>
                  <a:gd name="connsiteX0" fmla="*/ 0 w 356185"/>
                  <a:gd name="connsiteY0" fmla="*/ 128355 h 496033"/>
                  <a:gd name="connsiteX1" fmla="*/ 353673 w 356185"/>
                  <a:gd name="connsiteY1" fmla="*/ 89086 h 496033"/>
                  <a:gd name="connsiteX2" fmla="*/ 272331 w 356185"/>
                  <a:gd name="connsiteY2" fmla="*/ 446403 h 496033"/>
                  <a:gd name="connsiteX3" fmla="*/ 109391 w 356185"/>
                  <a:gd name="connsiteY3" fmla="*/ 477257 h 496033"/>
                  <a:gd name="connsiteX4" fmla="*/ 0 w 356185"/>
                  <a:gd name="connsiteY4" fmla="*/ 128355 h 496033"/>
                  <a:gd name="connsiteX0" fmla="*/ 0 w 355606"/>
                  <a:gd name="connsiteY0" fmla="*/ 128355 h 498044"/>
                  <a:gd name="connsiteX1" fmla="*/ 353673 w 355606"/>
                  <a:gd name="connsiteY1" fmla="*/ 89086 h 498044"/>
                  <a:gd name="connsiteX2" fmla="*/ 258307 w 355606"/>
                  <a:gd name="connsiteY2" fmla="*/ 452013 h 498044"/>
                  <a:gd name="connsiteX3" fmla="*/ 109391 w 355606"/>
                  <a:gd name="connsiteY3" fmla="*/ 477257 h 498044"/>
                  <a:gd name="connsiteX4" fmla="*/ 0 w 355606"/>
                  <a:gd name="connsiteY4" fmla="*/ 128355 h 498044"/>
                  <a:gd name="connsiteX0" fmla="*/ 0 w 355606"/>
                  <a:gd name="connsiteY0" fmla="*/ 128355 h 498044"/>
                  <a:gd name="connsiteX1" fmla="*/ 353673 w 355606"/>
                  <a:gd name="connsiteY1" fmla="*/ 89086 h 498044"/>
                  <a:gd name="connsiteX2" fmla="*/ 258307 w 355606"/>
                  <a:gd name="connsiteY2" fmla="*/ 452013 h 498044"/>
                  <a:gd name="connsiteX3" fmla="*/ 109391 w 355606"/>
                  <a:gd name="connsiteY3" fmla="*/ 477257 h 498044"/>
                  <a:gd name="connsiteX4" fmla="*/ 0 w 355606"/>
                  <a:gd name="connsiteY4" fmla="*/ 128355 h 498044"/>
                  <a:gd name="connsiteX0" fmla="*/ 0 w 361902"/>
                  <a:gd name="connsiteY0" fmla="*/ 128355 h 498044"/>
                  <a:gd name="connsiteX1" fmla="*/ 353673 w 361902"/>
                  <a:gd name="connsiteY1" fmla="*/ 89086 h 498044"/>
                  <a:gd name="connsiteX2" fmla="*/ 258307 w 361902"/>
                  <a:gd name="connsiteY2" fmla="*/ 452013 h 498044"/>
                  <a:gd name="connsiteX3" fmla="*/ 109391 w 361902"/>
                  <a:gd name="connsiteY3" fmla="*/ 477257 h 498044"/>
                  <a:gd name="connsiteX4" fmla="*/ 0 w 361902"/>
                  <a:gd name="connsiteY4" fmla="*/ 128355 h 498044"/>
                  <a:gd name="connsiteX0" fmla="*/ 0 w 361902"/>
                  <a:gd name="connsiteY0" fmla="*/ 149137 h 518826"/>
                  <a:gd name="connsiteX1" fmla="*/ 353673 w 361902"/>
                  <a:gd name="connsiteY1" fmla="*/ 109868 h 518826"/>
                  <a:gd name="connsiteX2" fmla="*/ 258307 w 361902"/>
                  <a:gd name="connsiteY2" fmla="*/ 472795 h 518826"/>
                  <a:gd name="connsiteX3" fmla="*/ 109391 w 361902"/>
                  <a:gd name="connsiteY3" fmla="*/ 498039 h 518826"/>
                  <a:gd name="connsiteX4" fmla="*/ 0 w 361902"/>
                  <a:gd name="connsiteY4" fmla="*/ 149137 h 518826"/>
                  <a:gd name="connsiteX0" fmla="*/ 0 w 361902"/>
                  <a:gd name="connsiteY0" fmla="*/ 139280 h 508969"/>
                  <a:gd name="connsiteX1" fmla="*/ 353673 w 361902"/>
                  <a:gd name="connsiteY1" fmla="*/ 119645 h 508969"/>
                  <a:gd name="connsiteX2" fmla="*/ 258307 w 361902"/>
                  <a:gd name="connsiteY2" fmla="*/ 462938 h 508969"/>
                  <a:gd name="connsiteX3" fmla="*/ 109391 w 361902"/>
                  <a:gd name="connsiteY3" fmla="*/ 488182 h 508969"/>
                  <a:gd name="connsiteX4" fmla="*/ 0 w 361902"/>
                  <a:gd name="connsiteY4" fmla="*/ 139280 h 508969"/>
                  <a:gd name="connsiteX0" fmla="*/ 0 w 361902"/>
                  <a:gd name="connsiteY0" fmla="*/ 150807 h 520496"/>
                  <a:gd name="connsiteX1" fmla="*/ 353673 w 361902"/>
                  <a:gd name="connsiteY1" fmla="*/ 131172 h 520496"/>
                  <a:gd name="connsiteX2" fmla="*/ 258307 w 361902"/>
                  <a:gd name="connsiteY2" fmla="*/ 474465 h 520496"/>
                  <a:gd name="connsiteX3" fmla="*/ 109391 w 361902"/>
                  <a:gd name="connsiteY3" fmla="*/ 499709 h 520496"/>
                  <a:gd name="connsiteX4" fmla="*/ 0 w 361902"/>
                  <a:gd name="connsiteY4" fmla="*/ 150807 h 520496"/>
                  <a:gd name="connsiteX0" fmla="*/ 0 w 364707"/>
                  <a:gd name="connsiteY0" fmla="*/ 153718 h 517797"/>
                  <a:gd name="connsiteX1" fmla="*/ 356478 w 364707"/>
                  <a:gd name="connsiteY1" fmla="*/ 128473 h 517797"/>
                  <a:gd name="connsiteX2" fmla="*/ 261112 w 364707"/>
                  <a:gd name="connsiteY2" fmla="*/ 471766 h 517797"/>
                  <a:gd name="connsiteX3" fmla="*/ 112196 w 364707"/>
                  <a:gd name="connsiteY3" fmla="*/ 497010 h 517797"/>
                  <a:gd name="connsiteX4" fmla="*/ 0 w 364707"/>
                  <a:gd name="connsiteY4" fmla="*/ 153718 h 517797"/>
                  <a:gd name="connsiteX0" fmla="*/ 0 w 364707"/>
                  <a:gd name="connsiteY0" fmla="*/ 152703 h 516782"/>
                  <a:gd name="connsiteX1" fmla="*/ 356478 w 364707"/>
                  <a:gd name="connsiteY1" fmla="*/ 127458 h 516782"/>
                  <a:gd name="connsiteX2" fmla="*/ 261112 w 364707"/>
                  <a:gd name="connsiteY2" fmla="*/ 470751 h 516782"/>
                  <a:gd name="connsiteX3" fmla="*/ 112196 w 364707"/>
                  <a:gd name="connsiteY3" fmla="*/ 495995 h 516782"/>
                  <a:gd name="connsiteX4" fmla="*/ 0 w 364707"/>
                  <a:gd name="connsiteY4" fmla="*/ 152703 h 516782"/>
                  <a:gd name="connsiteX0" fmla="*/ 2543 w 367250"/>
                  <a:gd name="connsiteY0" fmla="*/ 152703 h 516782"/>
                  <a:gd name="connsiteX1" fmla="*/ 359021 w 367250"/>
                  <a:gd name="connsiteY1" fmla="*/ 127458 h 516782"/>
                  <a:gd name="connsiteX2" fmla="*/ 263655 w 367250"/>
                  <a:gd name="connsiteY2" fmla="*/ 470751 h 516782"/>
                  <a:gd name="connsiteX3" fmla="*/ 114739 w 367250"/>
                  <a:gd name="connsiteY3" fmla="*/ 495995 h 516782"/>
                  <a:gd name="connsiteX4" fmla="*/ 2543 w 367250"/>
                  <a:gd name="connsiteY4" fmla="*/ 152703 h 516782"/>
                  <a:gd name="connsiteX0" fmla="*/ 2793 w 367500"/>
                  <a:gd name="connsiteY0" fmla="*/ 152703 h 507611"/>
                  <a:gd name="connsiteX1" fmla="*/ 359271 w 367500"/>
                  <a:gd name="connsiteY1" fmla="*/ 127458 h 507611"/>
                  <a:gd name="connsiteX2" fmla="*/ 263905 w 367500"/>
                  <a:gd name="connsiteY2" fmla="*/ 470751 h 507611"/>
                  <a:gd name="connsiteX3" fmla="*/ 109379 w 367500"/>
                  <a:gd name="connsiteY3" fmla="*/ 479165 h 507611"/>
                  <a:gd name="connsiteX4" fmla="*/ 2793 w 367500"/>
                  <a:gd name="connsiteY4" fmla="*/ 152703 h 507611"/>
                  <a:gd name="connsiteX0" fmla="*/ 2348 w 367055"/>
                  <a:gd name="connsiteY0" fmla="*/ 152703 h 507611"/>
                  <a:gd name="connsiteX1" fmla="*/ 358826 w 367055"/>
                  <a:gd name="connsiteY1" fmla="*/ 127458 h 507611"/>
                  <a:gd name="connsiteX2" fmla="*/ 263460 w 367055"/>
                  <a:gd name="connsiteY2" fmla="*/ 470751 h 507611"/>
                  <a:gd name="connsiteX3" fmla="*/ 108934 w 367055"/>
                  <a:gd name="connsiteY3" fmla="*/ 479165 h 507611"/>
                  <a:gd name="connsiteX4" fmla="*/ 2348 w 367055"/>
                  <a:gd name="connsiteY4" fmla="*/ 152703 h 507611"/>
                  <a:gd name="connsiteX0" fmla="*/ 2451 w 367158"/>
                  <a:gd name="connsiteY0" fmla="*/ 152703 h 507611"/>
                  <a:gd name="connsiteX1" fmla="*/ 358929 w 367158"/>
                  <a:gd name="connsiteY1" fmla="*/ 127458 h 507611"/>
                  <a:gd name="connsiteX2" fmla="*/ 263563 w 367158"/>
                  <a:gd name="connsiteY2" fmla="*/ 470751 h 507611"/>
                  <a:gd name="connsiteX3" fmla="*/ 106233 w 367158"/>
                  <a:gd name="connsiteY3" fmla="*/ 479165 h 507611"/>
                  <a:gd name="connsiteX4" fmla="*/ 2451 w 367158"/>
                  <a:gd name="connsiteY4" fmla="*/ 152703 h 507611"/>
                  <a:gd name="connsiteX0" fmla="*/ 2451 w 367158"/>
                  <a:gd name="connsiteY0" fmla="*/ 152703 h 505628"/>
                  <a:gd name="connsiteX1" fmla="*/ 358929 w 367158"/>
                  <a:gd name="connsiteY1" fmla="*/ 127458 h 505628"/>
                  <a:gd name="connsiteX2" fmla="*/ 263563 w 367158"/>
                  <a:gd name="connsiteY2" fmla="*/ 470751 h 505628"/>
                  <a:gd name="connsiteX3" fmla="*/ 106233 w 367158"/>
                  <a:gd name="connsiteY3" fmla="*/ 479165 h 505628"/>
                  <a:gd name="connsiteX4" fmla="*/ 2451 w 367158"/>
                  <a:gd name="connsiteY4" fmla="*/ 152703 h 505628"/>
                  <a:gd name="connsiteX0" fmla="*/ 2451 w 367158"/>
                  <a:gd name="connsiteY0" fmla="*/ 152703 h 504512"/>
                  <a:gd name="connsiteX1" fmla="*/ 358929 w 367158"/>
                  <a:gd name="connsiteY1" fmla="*/ 127458 h 504512"/>
                  <a:gd name="connsiteX2" fmla="*/ 263563 w 367158"/>
                  <a:gd name="connsiteY2" fmla="*/ 470751 h 504512"/>
                  <a:gd name="connsiteX3" fmla="*/ 106233 w 367158"/>
                  <a:gd name="connsiteY3" fmla="*/ 479165 h 504512"/>
                  <a:gd name="connsiteX4" fmla="*/ 2451 w 367158"/>
                  <a:gd name="connsiteY4" fmla="*/ 152703 h 504512"/>
                  <a:gd name="connsiteX0" fmla="*/ 2558 w 367265"/>
                  <a:gd name="connsiteY0" fmla="*/ 152703 h 504512"/>
                  <a:gd name="connsiteX1" fmla="*/ 359036 w 367265"/>
                  <a:gd name="connsiteY1" fmla="*/ 127458 h 504512"/>
                  <a:gd name="connsiteX2" fmla="*/ 263670 w 367265"/>
                  <a:gd name="connsiteY2" fmla="*/ 470751 h 504512"/>
                  <a:gd name="connsiteX3" fmla="*/ 106340 w 367265"/>
                  <a:gd name="connsiteY3" fmla="*/ 479165 h 504512"/>
                  <a:gd name="connsiteX4" fmla="*/ 2558 w 367265"/>
                  <a:gd name="connsiteY4" fmla="*/ 152703 h 504512"/>
                  <a:gd name="connsiteX0" fmla="*/ 2018 w 366725"/>
                  <a:gd name="connsiteY0" fmla="*/ 152703 h 504512"/>
                  <a:gd name="connsiteX1" fmla="*/ 358496 w 366725"/>
                  <a:gd name="connsiteY1" fmla="*/ 127458 h 504512"/>
                  <a:gd name="connsiteX2" fmla="*/ 263130 w 366725"/>
                  <a:gd name="connsiteY2" fmla="*/ 470751 h 504512"/>
                  <a:gd name="connsiteX3" fmla="*/ 105800 w 366725"/>
                  <a:gd name="connsiteY3" fmla="*/ 479165 h 504512"/>
                  <a:gd name="connsiteX4" fmla="*/ 2018 w 366725"/>
                  <a:gd name="connsiteY4" fmla="*/ 152703 h 504512"/>
                  <a:gd name="connsiteX0" fmla="*/ 2018 w 366725"/>
                  <a:gd name="connsiteY0" fmla="*/ 152703 h 504512"/>
                  <a:gd name="connsiteX1" fmla="*/ 358496 w 366725"/>
                  <a:gd name="connsiteY1" fmla="*/ 127458 h 504512"/>
                  <a:gd name="connsiteX2" fmla="*/ 263130 w 366725"/>
                  <a:gd name="connsiteY2" fmla="*/ 470751 h 504512"/>
                  <a:gd name="connsiteX3" fmla="*/ 105800 w 366725"/>
                  <a:gd name="connsiteY3" fmla="*/ 479165 h 504512"/>
                  <a:gd name="connsiteX4" fmla="*/ 2018 w 366725"/>
                  <a:gd name="connsiteY4" fmla="*/ 152703 h 504512"/>
                  <a:gd name="connsiteX0" fmla="*/ 2018 w 367498"/>
                  <a:gd name="connsiteY0" fmla="*/ 152703 h 506072"/>
                  <a:gd name="connsiteX1" fmla="*/ 358496 w 367498"/>
                  <a:gd name="connsiteY1" fmla="*/ 127458 h 506072"/>
                  <a:gd name="connsiteX2" fmla="*/ 271544 w 367498"/>
                  <a:gd name="connsiteY2" fmla="*/ 473556 h 506072"/>
                  <a:gd name="connsiteX3" fmla="*/ 105800 w 367498"/>
                  <a:gd name="connsiteY3" fmla="*/ 479165 h 506072"/>
                  <a:gd name="connsiteX4" fmla="*/ 2018 w 367498"/>
                  <a:gd name="connsiteY4" fmla="*/ 152703 h 506072"/>
                  <a:gd name="connsiteX0" fmla="*/ 2018 w 367004"/>
                  <a:gd name="connsiteY0" fmla="*/ 152703 h 506072"/>
                  <a:gd name="connsiteX1" fmla="*/ 358496 w 367004"/>
                  <a:gd name="connsiteY1" fmla="*/ 127458 h 506072"/>
                  <a:gd name="connsiteX2" fmla="*/ 271544 w 367004"/>
                  <a:gd name="connsiteY2" fmla="*/ 473556 h 506072"/>
                  <a:gd name="connsiteX3" fmla="*/ 105800 w 367004"/>
                  <a:gd name="connsiteY3" fmla="*/ 479165 h 506072"/>
                  <a:gd name="connsiteX4" fmla="*/ 2018 w 367004"/>
                  <a:gd name="connsiteY4" fmla="*/ 152703 h 506072"/>
                  <a:gd name="connsiteX0" fmla="*/ 2018 w 367004"/>
                  <a:gd name="connsiteY0" fmla="*/ 152703 h 508676"/>
                  <a:gd name="connsiteX1" fmla="*/ 358496 w 367004"/>
                  <a:gd name="connsiteY1" fmla="*/ 127458 h 508676"/>
                  <a:gd name="connsiteX2" fmla="*/ 271544 w 367004"/>
                  <a:gd name="connsiteY2" fmla="*/ 473556 h 508676"/>
                  <a:gd name="connsiteX3" fmla="*/ 105800 w 367004"/>
                  <a:gd name="connsiteY3" fmla="*/ 479165 h 508676"/>
                  <a:gd name="connsiteX4" fmla="*/ 2018 w 367004"/>
                  <a:gd name="connsiteY4" fmla="*/ 152703 h 508676"/>
                  <a:gd name="connsiteX0" fmla="*/ 2564 w 367550"/>
                  <a:gd name="connsiteY0" fmla="*/ 152703 h 508676"/>
                  <a:gd name="connsiteX1" fmla="*/ 359042 w 367550"/>
                  <a:gd name="connsiteY1" fmla="*/ 127458 h 508676"/>
                  <a:gd name="connsiteX2" fmla="*/ 272090 w 367550"/>
                  <a:gd name="connsiteY2" fmla="*/ 473556 h 508676"/>
                  <a:gd name="connsiteX3" fmla="*/ 106346 w 367550"/>
                  <a:gd name="connsiteY3" fmla="*/ 479165 h 508676"/>
                  <a:gd name="connsiteX4" fmla="*/ 2564 w 367550"/>
                  <a:gd name="connsiteY4" fmla="*/ 152703 h 508676"/>
                  <a:gd name="connsiteX0" fmla="*/ 2564 w 367550"/>
                  <a:gd name="connsiteY0" fmla="*/ 152703 h 506923"/>
                  <a:gd name="connsiteX1" fmla="*/ 359042 w 367550"/>
                  <a:gd name="connsiteY1" fmla="*/ 127458 h 506923"/>
                  <a:gd name="connsiteX2" fmla="*/ 272090 w 367550"/>
                  <a:gd name="connsiteY2" fmla="*/ 473556 h 506923"/>
                  <a:gd name="connsiteX3" fmla="*/ 106346 w 367550"/>
                  <a:gd name="connsiteY3" fmla="*/ 479165 h 506923"/>
                  <a:gd name="connsiteX4" fmla="*/ 2564 w 367550"/>
                  <a:gd name="connsiteY4" fmla="*/ 152703 h 506923"/>
                  <a:gd name="connsiteX0" fmla="*/ 2564 w 369367"/>
                  <a:gd name="connsiteY0" fmla="*/ 152703 h 506923"/>
                  <a:gd name="connsiteX1" fmla="*/ 359042 w 369367"/>
                  <a:gd name="connsiteY1" fmla="*/ 127458 h 506923"/>
                  <a:gd name="connsiteX2" fmla="*/ 272090 w 369367"/>
                  <a:gd name="connsiteY2" fmla="*/ 473556 h 506923"/>
                  <a:gd name="connsiteX3" fmla="*/ 106346 w 369367"/>
                  <a:gd name="connsiteY3" fmla="*/ 479165 h 506923"/>
                  <a:gd name="connsiteX4" fmla="*/ 2564 w 369367"/>
                  <a:gd name="connsiteY4" fmla="*/ 152703 h 50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367" h="506923">
                    <a:moveTo>
                      <a:pt x="2564" y="152703"/>
                    </a:moveTo>
                    <a:cubicBezTo>
                      <a:pt x="34438" y="-45510"/>
                      <a:pt x="299118" y="-47383"/>
                      <a:pt x="359042" y="127458"/>
                    </a:cubicBezTo>
                    <a:cubicBezTo>
                      <a:pt x="395680" y="264019"/>
                      <a:pt x="327253" y="421767"/>
                      <a:pt x="272090" y="473556"/>
                    </a:cubicBezTo>
                    <a:cubicBezTo>
                      <a:pt x="226192" y="525915"/>
                      <a:pt x="133372" y="507837"/>
                      <a:pt x="106346" y="479165"/>
                    </a:cubicBezTo>
                    <a:cubicBezTo>
                      <a:pt x="33274" y="429570"/>
                      <a:pt x="-11460" y="291443"/>
                      <a:pt x="2564" y="152703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4" name="Freeform 143"/>
              <p:cNvSpPr/>
              <p:nvPr/>
            </p:nvSpPr>
            <p:spPr>
              <a:xfrm flipH="1">
                <a:off x="5378056" y="2917027"/>
                <a:ext cx="114940" cy="125326"/>
              </a:xfrm>
              <a:custGeom>
                <a:avLst/>
                <a:gdLst>
                  <a:gd name="connsiteX0" fmla="*/ 1105921 w 1183846"/>
                  <a:gd name="connsiteY0" fmla="*/ 0 h 1283864"/>
                  <a:gd name="connsiteX1" fmla="*/ 1183846 w 1183846"/>
                  <a:gd name="connsiteY1" fmla="*/ 77925 h 1283864"/>
                  <a:gd name="connsiteX2" fmla="*/ 1183846 w 1183846"/>
                  <a:gd name="connsiteY2" fmla="*/ 639096 h 1283864"/>
                  <a:gd name="connsiteX3" fmla="*/ 1007581 w 1183846"/>
                  <a:gd name="connsiteY3" fmla="*/ 729972 h 1283864"/>
                  <a:gd name="connsiteX4" fmla="*/ 876323 w 1183846"/>
                  <a:gd name="connsiteY4" fmla="*/ 599888 h 1283864"/>
                  <a:gd name="connsiteX5" fmla="*/ 876441 w 1183846"/>
                  <a:gd name="connsiteY5" fmla="*/ 617551 h 1283864"/>
                  <a:gd name="connsiteX6" fmla="*/ 877090 w 1183846"/>
                  <a:gd name="connsiteY6" fmla="*/ 675608 h 1283864"/>
                  <a:gd name="connsiteX7" fmla="*/ 909714 w 1183846"/>
                  <a:gd name="connsiteY7" fmla="*/ 1283864 h 1283864"/>
                  <a:gd name="connsiteX8" fmla="*/ 312899 w 1183846"/>
                  <a:gd name="connsiteY8" fmla="*/ 1283864 h 1283864"/>
                  <a:gd name="connsiteX9" fmla="*/ 313999 w 1183846"/>
                  <a:gd name="connsiteY9" fmla="*/ 857492 h 1283864"/>
                  <a:gd name="connsiteX10" fmla="*/ 292731 w 1183846"/>
                  <a:gd name="connsiteY10" fmla="*/ 535445 h 1283864"/>
                  <a:gd name="connsiteX11" fmla="*/ 187344 w 1183846"/>
                  <a:gd name="connsiteY11" fmla="*/ 732989 h 1283864"/>
                  <a:gd name="connsiteX12" fmla="*/ 287169 w 1183846"/>
                  <a:gd name="connsiteY12" fmla="*/ 1174812 h 1283864"/>
                  <a:gd name="connsiteX13" fmla="*/ 241820 w 1183846"/>
                  <a:gd name="connsiteY13" fmla="*/ 1250207 h 1283864"/>
                  <a:gd name="connsiteX14" fmla="*/ 198185 w 1183846"/>
                  <a:gd name="connsiteY14" fmla="*/ 1261067 h 1283864"/>
                  <a:gd name="connsiteX15" fmla="*/ 122789 w 1183846"/>
                  <a:gd name="connsiteY15" fmla="*/ 1215719 h 1283864"/>
                  <a:gd name="connsiteX16" fmla="*/ 1856 w 1183846"/>
                  <a:gd name="connsiteY16" fmla="*/ 729753 h 1283864"/>
                  <a:gd name="connsiteX17" fmla="*/ 8914 w 1183846"/>
                  <a:gd name="connsiteY17" fmla="*/ 682663 h 1283864"/>
                  <a:gd name="connsiteX18" fmla="*/ 25477 w 1183846"/>
                  <a:gd name="connsiteY18" fmla="*/ 646635 h 1283864"/>
                  <a:gd name="connsiteX19" fmla="*/ 247032 w 1183846"/>
                  <a:gd name="connsiteY19" fmla="*/ 231336 h 1283864"/>
                  <a:gd name="connsiteX20" fmla="*/ 475215 w 1183846"/>
                  <a:gd name="connsiteY20" fmla="*/ 142432 h 1283864"/>
                  <a:gd name="connsiteX21" fmla="*/ 505349 w 1183846"/>
                  <a:gd name="connsiteY21" fmla="*/ 142077 h 1283864"/>
                  <a:gd name="connsiteX22" fmla="*/ 550680 w 1183846"/>
                  <a:gd name="connsiteY22" fmla="*/ 324368 h 1283864"/>
                  <a:gd name="connsiteX23" fmla="*/ 643965 w 1183846"/>
                  <a:gd name="connsiteY23" fmla="*/ 436473 h 1283864"/>
                  <a:gd name="connsiteX24" fmla="*/ 698114 w 1183846"/>
                  <a:gd name="connsiteY24" fmla="*/ 299299 h 1283864"/>
                  <a:gd name="connsiteX25" fmla="*/ 681082 w 1183846"/>
                  <a:gd name="connsiteY25" fmla="*/ 191983 h 1283864"/>
                  <a:gd name="connsiteX26" fmla="*/ 672484 w 1183846"/>
                  <a:gd name="connsiteY26" fmla="*/ 144810 h 1283864"/>
                  <a:gd name="connsiteX27" fmla="*/ 722262 w 1183846"/>
                  <a:gd name="connsiteY27" fmla="*/ 150761 h 1283864"/>
                  <a:gd name="connsiteX28" fmla="*/ 889198 w 1183846"/>
                  <a:gd name="connsiteY28" fmla="*/ 313116 h 1283864"/>
                  <a:gd name="connsiteX29" fmla="*/ 1027997 w 1183846"/>
                  <a:gd name="connsiteY29" fmla="*/ 482076 h 1283864"/>
                  <a:gd name="connsiteX30" fmla="*/ 1027996 w 1183846"/>
                  <a:gd name="connsiteY30" fmla="*/ 77926 h 1283864"/>
                  <a:gd name="connsiteX31" fmla="*/ 1105921 w 1183846"/>
                  <a:gd name="connsiteY31" fmla="*/ 1 h 1283864"/>
                  <a:gd name="connsiteX0" fmla="*/ 1105921 w 1183846"/>
                  <a:gd name="connsiteY0" fmla="*/ 0 h 1290818"/>
                  <a:gd name="connsiteX1" fmla="*/ 1183846 w 1183846"/>
                  <a:gd name="connsiteY1" fmla="*/ 77925 h 1290818"/>
                  <a:gd name="connsiteX2" fmla="*/ 1183846 w 1183846"/>
                  <a:gd name="connsiteY2" fmla="*/ 639096 h 1290818"/>
                  <a:gd name="connsiteX3" fmla="*/ 1007581 w 1183846"/>
                  <a:gd name="connsiteY3" fmla="*/ 729972 h 1290818"/>
                  <a:gd name="connsiteX4" fmla="*/ 876323 w 1183846"/>
                  <a:gd name="connsiteY4" fmla="*/ 599888 h 1290818"/>
                  <a:gd name="connsiteX5" fmla="*/ 876441 w 1183846"/>
                  <a:gd name="connsiteY5" fmla="*/ 617551 h 1290818"/>
                  <a:gd name="connsiteX6" fmla="*/ 877090 w 1183846"/>
                  <a:gd name="connsiteY6" fmla="*/ 675608 h 1290818"/>
                  <a:gd name="connsiteX7" fmla="*/ 909714 w 1183846"/>
                  <a:gd name="connsiteY7" fmla="*/ 1283864 h 1290818"/>
                  <a:gd name="connsiteX8" fmla="*/ 302468 w 1183846"/>
                  <a:gd name="connsiteY8" fmla="*/ 1290818 h 1290818"/>
                  <a:gd name="connsiteX9" fmla="*/ 313999 w 1183846"/>
                  <a:gd name="connsiteY9" fmla="*/ 857492 h 1290818"/>
                  <a:gd name="connsiteX10" fmla="*/ 292731 w 1183846"/>
                  <a:gd name="connsiteY10" fmla="*/ 535445 h 1290818"/>
                  <a:gd name="connsiteX11" fmla="*/ 187344 w 1183846"/>
                  <a:gd name="connsiteY11" fmla="*/ 732989 h 1290818"/>
                  <a:gd name="connsiteX12" fmla="*/ 287169 w 1183846"/>
                  <a:gd name="connsiteY12" fmla="*/ 1174812 h 1290818"/>
                  <a:gd name="connsiteX13" fmla="*/ 241820 w 1183846"/>
                  <a:gd name="connsiteY13" fmla="*/ 1250207 h 1290818"/>
                  <a:gd name="connsiteX14" fmla="*/ 198185 w 1183846"/>
                  <a:gd name="connsiteY14" fmla="*/ 1261067 h 1290818"/>
                  <a:gd name="connsiteX15" fmla="*/ 122789 w 1183846"/>
                  <a:gd name="connsiteY15" fmla="*/ 1215719 h 1290818"/>
                  <a:gd name="connsiteX16" fmla="*/ 1856 w 1183846"/>
                  <a:gd name="connsiteY16" fmla="*/ 729753 h 1290818"/>
                  <a:gd name="connsiteX17" fmla="*/ 8914 w 1183846"/>
                  <a:gd name="connsiteY17" fmla="*/ 682663 h 1290818"/>
                  <a:gd name="connsiteX18" fmla="*/ 25477 w 1183846"/>
                  <a:gd name="connsiteY18" fmla="*/ 646635 h 1290818"/>
                  <a:gd name="connsiteX19" fmla="*/ 247032 w 1183846"/>
                  <a:gd name="connsiteY19" fmla="*/ 231336 h 1290818"/>
                  <a:gd name="connsiteX20" fmla="*/ 475215 w 1183846"/>
                  <a:gd name="connsiteY20" fmla="*/ 142432 h 1290818"/>
                  <a:gd name="connsiteX21" fmla="*/ 505349 w 1183846"/>
                  <a:gd name="connsiteY21" fmla="*/ 142077 h 1290818"/>
                  <a:gd name="connsiteX22" fmla="*/ 550680 w 1183846"/>
                  <a:gd name="connsiteY22" fmla="*/ 324368 h 1290818"/>
                  <a:gd name="connsiteX23" fmla="*/ 643965 w 1183846"/>
                  <a:gd name="connsiteY23" fmla="*/ 436473 h 1290818"/>
                  <a:gd name="connsiteX24" fmla="*/ 698114 w 1183846"/>
                  <a:gd name="connsiteY24" fmla="*/ 299299 h 1290818"/>
                  <a:gd name="connsiteX25" fmla="*/ 681082 w 1183846"/>
                  <a:gd name="connsiteY25" fmla="*/ 191983 h 1290818"/>
                  <a:gd name="connsiteX26" fmla="*/ 672484 w 1183846"/>
                  <a:gd name="connsiteY26" fmla="*/ 144810 h 1290818"/>
                  <a:gd name="connsiteX27" fmla="*/ 722262 w 1183846"/>
                  <a:gd name="connsiteY27" fmla="*/ 150761 h 1290818"/>
                  <a:gd name="connsiteX28" fmla="*/ 889198 w 1183846"/>
                  <a:gd name="connsiteY28" fmla="*/ 313116 h 1290818"/>
                  <a:gd name="connsiteX29" fmla="*/ 1027997 w 1183846"/>
                  <a:gd name="connsiteY29" fmla="*/ 482076 h 1290818"/>
                  <a:gd name="connsiteX30" fmla="*/ 1027996 w 1183846"/>
                  <a:gd name="connsiteY30" fmla="*/ 77926 h 1290818"/>
                  <a:gd name="connsiteX31" fmla="*/ 1105921 w 1183846"/>
                  <a:gd name="connsiteY31" fmla="*/ 1 h 1290818"/>
                  <a:gd name="connsiteX32" fmla="*/ 1105921 w 1183846"/>
                  <a:gd name="connsiteY32" fmla="*/ 0 h 129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183846" h="1290818">
                    <a:moveTo>
                      <a:pt x="1105921" y="0"/>
                    </a:moveTo>
                    <a:cubicBezTo>
                      <a:pt x="1148958" y="0"/>
                      <a:pt x="1183846" y="34888"/>
                      <a:pt x="1183846" y="77925"/>
                    </a:cubicBezTo>
                    <a:lnTo>
                      <a:pt x="1183846" y="639096"/>
                    </a:lnTo>
                    <a:cubicBezTo>
                      <a:pt x="1183043" y="709670"/>
                      <a:pt x="1095741" y="793376"/>
                      <a:pt x="1007581" y="729972"/>
                    </a:cubicBezTo>
                    <a:lnTo>
                      <a:pt x="876323" y="599888"/>
                    </a:lnTo>
                    <a:cubicBezTo>
                      <a:pt x="876362" y="605776"/>
                      <a:pt x="876402" y="611663"/>
                      <a:pt x="876441" y="617551"/>
                    </a:cubicBezTo>
                    <a:cubicBezTo>
                      <a:pt x="876600" y="635508"/>
                      <a:pt x="876810" y="654721"/>
                      <a:pt x="877090" y="675608"/>
                    </a:cubicBezTo>
                    <a:lnTo>
                      <a:pt x="909714" y="1283864"/>
                    </a:lnTo>
                    <a:cubicBezTo>
                      <a:pt x="710776" y="1283864"/>
                      <a:pt x="501406" y="1290818"/>
                      <a:pt x="302468" y="1290818"/>
                    </a:cubicBezTo>
                    <a:cubicBezTo>
                      <a:pt x="303481" y="1151185"/>
                      <a:pt x="315036" y="1002219"/>
                      <a:pt x="313999" y="857492"/>
                    </a:cubicBezTo>
                    <a:lnTo>
                      <a:pt x="292731" y="535445"/>
                    </a:lnTo>
                    <a:lnTo>
                      <a:pt x="187344" y="732989"/>
                    </a:lnTo>
                    <a:lnTo>
                      <a:pt x="287169" y="1174812"/>
                    </a:lnTo>
                    <a:cubicBezTo>
                      <a:pt x="295466" y="1208155"/>
                      <a:pt x="275163" y="1241911"/>
                      <a:pt x="241820" y="1250207"/>
                    </a:cubicBezTo>
                    <a:lnTo>
                      <a:pt x="198185" y="1261067"/>
                    </a:lnTo>
                    <a:cubicBezTo>
                      <a:pt x="164842" y="1269364"/>
                      <a:pt x="131086" y="1249061"/>
                      <a:pt x="122789" y="1215719"/>
                    </a:cubicBezTo>
                    <a:lnTo>
                      <a:pt x="1856" y="729753"/>
                    </a:lnTo>
                    <a:cubicBezTo>
                      <a:pt x="-2293" y="713082"/>
                      <a:pt x="708" y="696307"/>
                      <a:pt x="8914" y="682663"/>
                    </a:cubicBezTo>
                    <a:lnTo>
                      <a:pt x="25477" y="646635"/>
                    </a:lnTo>
                    <a:lnTo>
                      <a:pt x="247032" y="231336"/>
                    </a:lnTo>
                    <a:cubicBezTo>
                      <a:pt x="312463" y="142540"/>
                      <a:pt x="423823" y="144717"/>
                      <a:pt x="475215" y="142432"/>
                    </a:cubicBezTo>
                    <a:lnTo>
                      <a:pt x="505349" y="142077"/>
                    </a:lnTo>
                    <a:lnTo>
                      <a:pt x="550680" y="324368"/>
                    </a:lnTo>
                    <a:lnTo>
                      <a:pt x="643965" y="436473"/>
                    </a:lnTo>
                    <a:cubicBezTo>
                      <a:pt x="671114" y="371970"/>
                      <a:pt x="683799" y="351954"/>
                      <a:pt x="698114" y="299299"/>
                    </a:cubicBezTo>
                    <a:cubicBezTo>
                      <a:pt x="692223" y="256283"/>
                      <a:pt x="687326" y="226789"/>
                      <a:pt x="681082" y="191983"/>
                    </a:cubicBezTo>
                    <a:lnTo>
                      <a:pt x="672484" y="144810"/>
                    </a:lnTo>
                    <a:lnTo>
                      <a:pt x="722262" y="150761"/>
                    </a:lnTo>
                    <a:cubicBezTo>
                      <a:pt x="812690" y="176826"/>
                      <a:pt x="843004" y="253135"/>
                      <a:pt x="889198" y="313116"/>
                    </a:cubicBezTo>
                    <a:lnTo>
                      <a:pt x="1027997" y="482076"/>
                    </a:lnTo>
                    <a:cubicBezTo>
                      <a:pt x="1027997" y="347359"/>
                      <a:pt x="1027996" y="212643"/>
                      <a:pt x="1027996" y="77926"/>
                    </a:cubicBezTo>
                    <a:cubicBezTo>
                      <a:pt x="1027996" y="34889"/>
                      <a:pt x="1062884" y="1"/>
                      <a:pt x="1105921" y="1"/>
                    </a:cubicBezTo>
                    <a:lnTo>
                      <a:pt x="1105921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5" name="Freeform 144"/>
              <p:cNvSpPr/>
              <p:nvPr/>
            </p:nvSpPr>
            <p:spPr>
              <a:xfrm>
                <a:off x="5295480" y="2796131"/>
                <a:ext cx="69317" cy="61713"/>
              </a:xfrm>
              <a:custGeom>
                <a:avLst/>
                <a:gdLst>
                  <a:gd name="connsiteX0" fmla="*/ 0 w 1117077"/>
                  <a:gd name="connsiteY0" fmla="*/ 0 h 994527"/>
                  <a:gd name="connsiteX1" fmla="*/ 1117077 w 1117077"/>
                  <a:gd name="connsiteY1" fmla="*/ 0 h 994527"/>
                  <a:gd name="connsiteX2" fmla="*/ 1117077 w 1117077"/>
                  <a:gd name="connsiteY2" fmla="*/ 292823 h 994527"/>
                  <a:gd name="connsiteX3" fmla="*/ 1034918 w 1117077"/>
                  <a:gd name="connsiteY3" fmla="*/ 292823 h 994527"/>
                  <a:gd name="connsiteX4" fmla="*/ 830478 w 1117077"/>
                  <a:gd name="connsiteY4" fmla="*/ 497263 h 994527"/>
                  <a:gd name="connsiteX5" fmla="*/ 1034918 w 1117077"/>
                  <a:gd name="connsiteY5" fmla="*/ 701703 h 994527"/>
                  <a:gd name="connsiteX6" fmla="*/ 1117077 w 1117077"/>
                  <a:gd name="connsiteY6" fmla="*/ 701703 h 994527"/>
                  <a:gd name="connsiteX7" fmla="*/ 1117077 w 1117077"/>
                  <a:gd name="connsiteY7" fmla="*/ 994527 h 994527"/>
                  <a:gd name="connsiteX8" fmla="*/ 0 w 1117077"/>
                  <a:gd name="connsiteY8" fmla="*/ 994527 h 994527"/>
                  <a:gd name="connsiteX9" fmla="*/ 0 w 1117077"/>
                  <a:gd name="connsiteY9" fmla="*/ 701703 h 994527"/>
                  <a:gd name="connsiteX10" fmla="*/ 87070 w 1117077"/>
                  <a:gd name="connsiteY10" fmla="*/ 701703 h 994527"/>
                  <a:gd name="connsiteX11" fmla="*/ 291510 w 1117077"/>
                  <a:gd name="connsiteY11" fmla="*/ 497263 h 994527"/>
                  <a:gd name="connsiteX12" fmla="*/ 87070 w 1117077"/>
                  <a:gd name="connsiteY12" fmla="*/ 292823 h 994527"/>
                  <a:gd name="connsiteX13" fmla="*/ 0 w 1117077"/>
                  <a:gd name="connsiteY13" fmla="*/ 292823 h 99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7077" h="994527">
                    <a:moveTo>
                      <a:pt x="0" y="0"/>
                    </a:moveTo>
                    <a:lnTo>
                      <a:pt x="1117077" y="0"/>
                    </a:lnTo>
                    <a:lnTo>
                      <a:pt x="1117077" y="292823"/>
                    </a:lnTo>
                    <a:lnTo>
                      <a:pt x="1034918" y="292823"/>
                    </a:lnTo>
                    <a:cubicBezTo>
                      <a:pt x="922009" y="292823"/>
                      <a:pt x="830478" y="384354"/>
                      <a:pt x="830478" y="497263"/>
                    </a:cubicBezTo>
                    <a:cubicBezTo>
                      <a:pt x="830478" y="610172"/>
                      <a:pt x="922009" y="701703"/>
                      <a:pt x="1034918" y="701703"/>
                    </a:cubicBezTo>
                    <a:lnTo>
                      <a:pt x="1117077" y="701703"/>
                    </a:lnTo>
                    <a:lnTo>
                      <a:pt x="1117077" y="994527"/>
                    </a:lnTo>
                    <a:lnTo>
                      <a:pt x="0" y="994527"/>
                    </a:lnTo>
                    <a:lnTo>
                      <a:pt x="0" y="701703"/>
                    </a:lnTo>
                    <a:lnTo>
                      <a:pt x="87070" y="701703"/>
                    </a:lnTo>
                    <a:cubicBezTo>
                      <a:pt x="199979" y="701703"/>
                      <a:pt x="291510" y="610172"/>
                      <a:pt x="291510" y="497263"/>
                    </a:cubicBezTo>
                    <a:cubicBezTo>
                      <a:pt x="291510" y="384354"/>
                      <a:pt x="199979" y="292823"/>
                      <a:pt x="87070" y="292823"/>
                    </a:cubicBezTo>
                    <a:lnTo>
                      <a:pt x="0" y="292823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6" name="Freeform 145"/>
              <p:cNvSpPr/>
              <p:nvPr/>
            </p:nvSpPr>
            <p:spPr>
              <a:xfrm>
                <a:off x="5395546" y="2796184"/>
                <a:ext cx="69317" cy="61713"/>
              </a:xfrm>
              <a:custGeom>
                <a:avLst/>
                <a:gdLst>
                  <a:gd name="connsiteX0" fmla="*/ 0 w 1503354"/>
                  <a:gd name="connsiteY0" fmla="*/ 0 h 1338427"/>
                  <a:gd name="connsiteX1" fmla="*/ 480880 w 1503354"/>
                  <a:gd name="connsiteY1" fmla="*/ 0 h 1338427"/>
                  <a:gd name="connsiteX2" fmla="*/ 480880 w 1503354"/>
                  <a:gd name="connsiteY2" fmla="*/ 151893 h 1338427"/>
                  <a:gd name="connsiteX3" fmla="*/ 751678 w 1503354"/>
                  <a:gd name="connsiteY3" fmla="*/ 422691 h 1338427"/>
                  <a:gd name="connsiteX4" fmla="*/ 1022476 w 1503354"/>
                  <a:gd name="connsiteY4" fmla="*/ 151893 h 1338427"/>
                  <a:gd name="connsiteX5" fmla="*/ 1022476 w 1503354"/>
                  <a:gd name="connsiteY5" fmla="*/ 0 h 1338427"/>
                  <a:gd name="connsiteX6" fmla="*/ 1503354 w 1503354"/>
                  <a:gd name="connsiteY6" fmla="*/ 0 h 1338427"/>
                  <a:gd name="connsiteX7" fmla="*/ 1503354 w 1503354"/>
                  <a:gd name="connsiteY7" fmla="*/ 1338427 h 1338427"/>
                  <a:gd name="connsiteX8" fmla="*/ 1022476 w 1503354"/>
                  <a:gd name="connsiteY8" fmla="*/ 1338427 h 1338427"/>
                  <a:gd name="connsiteX9" fmla="*/ 1022476 w 1503354"/>
                  <a:gd name="connsiteY9" fmla="*/ 1110029 h 1338427"/>
                  <a:gd name="connsiteX10" fmla="*/ 751678 w 1503354"/>
                  <a:gd name="connsiteY10" fmla="*/ 839231 h 1338427"/>
                  <a:gd name="connsiteX11" fmla="*/ 480880 w 1503354"/>
                  <a:gd name="connsiteY11" fmla="*/ 1110029 h 1338427"/>
                  <a:gd name="connsiteX12" fmla="*/ 480880 w 1503354"/>
                  <a:gd name="connsiteY12" fmla="*/ 1338427 h 1338427"/>
                  <a:gd name="connsiteX13" fmla="*/ 0 w 1503354"/>
                  <a:gd name="connsiteY13" fmla="*/ 1338427 h 1338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3354" h="1338427">
                    <a:moveTo>
                      <a:pt x="0" y="0"/>
                    </a:moveTo>
                    <a:lnTo>
                      <a:pt x="480880" y="0"/>
                    </a:lnTo>
                    <a:lnTo>
                      <a:pt x="480880" y="151893"/>
                    </a:lnTo>
                    <a:cubicBezTo>
                      <a:pt x="480880" y="301451"/>
                      <a:pt x="602120" y="422691"/>
                      <a:pt x="751678" y="422691"/>
                    </a:cubicBezTo>
                    <a:cubicBezTo>
                      <a:pt x="901236" y="422691"/>
                      <a:pt x="1022476" y="301451"/>
                      <a:pt x="1022476" y="151893"/>
                    </a:cubicBezTo>
                    <a:lnTo>
                      <a:pt x="1022476" y="0"/>
                    </a:lnTo>
                    <a:lnTo>
                      <a:pt x="1503354" y="0"/>
                    </a:lnTo>
                    <a:lnTo>
                      <a:pt x="1503354" y="1338427"/>
                    </a:lnTo>
                    <a:lnTo>
                      <a:pt x="1022476" y="1338427"/>
                    </a:lnTo>
                    <a:lnTo>
                      <a:pt x="1022476" y="1110029"/>
                    </a:lnTo>
                    <a:cubicBezTo>
                      <a:pt x="1022476" y="960471"/>
                      <a:pt x="901236" y="839231"/>
                      <a:pt x="751678" y="839231"/>
                    </a:cubicBezTo>
                    <a:cubicBezTo>
                      <a:pt x="602120" y="839231"/>
                      <a:pt x="480880" y="960471"/>
                      <a:pt x="480880" y="1110029"/>
                    </a:cubicBezTo>
                    <a:lnTo>
                      <a:pt x="480880" y="1338427"/>
                    </a:lnTo>
                    <a:lnTo>
                      <a:pt x="0" y="133842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47" name="Freeform 146"/>
            <p:cNvSpPr/>
            <p:nvPr/>
          </p:nvSpPr>
          <p:spPr>
            <a:xfrm flipH="1">
              <a:off x="3282875" y="2621663"/>
              <a:ext cx="43157" cy="15158"/>
            </a:xfrm>
            <a:custGeom>
              <a:avLst/>
              <a:gdLst>
                <a:gd name="connsiteX0" fmla="*/ 14342 w 948184"/>
                <a:gd name="connsiteY0" fmla="*/ 0 h 333033"/>
                <a:gd name="connsiteX1" fmla="*/ 933842 w 948184"/>
                <a:gd name="connsiteY1" fmla="*/ 0 h 333033"/>
                <a:gd name="connsiteX2" fmla="*/ 948184 w 948184"/>
                <a:gd name="connsiteY2" fmla="*/ 71038 h 333033"/>
                <a:gd name="connsiteX3" fmla="*/ 948184 w 948184"/>
                <a:gd name="connsiteY3" fmla="*/ 86448 h 333033"/>
                <a:gd name="connsiteX4" fmla="*/ 701599 w 948184"/>
                <a:gd name="connsiteY4" fmla="*/ 333033 h 333033"/>
                <a:gd name="connsiteX5" fmla="*/ 246585 w 948184"/>
                <a:gd name="connsiteY5" fmla="*/ 333033 h 333033"/>
                <a:gd name="connsiteX6" fmla="*/ 0 w 948184"/>
                <a:gd name="connsiteY6" fmla="*/ 86448 h 333033"/>
                <a:gd name="connsiteX7" fmla="*/ 0 w 948184"/>
                <a:gd name="connsiteY7" fmla="*/ 71038 h 33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8184" h="333033">
                  <a:moveTo>
                    <a:pt x="14342" y="0"/>
                  </a:moveTo>
                  <a:lnTo>
                    <a:pt x="933842" y="0"/>
                  </a:lnTo>
                  <a:lnTo>
                    <a:pt x="948184" y="71038"/>
                  </a:lnTo>
                  <a:lnTo>
                    <a:pt x="948184" y="86448"/>
                  </a:lnTo>
                  <a:cubicBezTo>
                    <a:pt x="948184" y="222633"/>
                    <a:pt x="837784" y="333033"/>
                    <a:pt x="701599" y="333033"/>
                  </a:cubicBezTo>
                  <a:lnTo>
                    <a:pt x="246585" y="333033"/>
                  </a:lnTo>
                  <a:cubicBezTo>
                    <a:pt x="110400" y="333033"/>
                    <a:pt x="0" y="222633"/>
                    <a:pt x="0" y="86448"/>
                  </a:cubicBezTo>
                  <a:lnTo>
                    <a:pt x="0" y="71038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Freeform 147"/>
            <p:cNvSpPr>
              <a:spLocks/>
            </p:cNvSpPr>
            <p:nvPr/>
          </p:nvSpPr>
          <p:spPr bwMode="auto">
            <a:xfrm flipH="1">
              <a:off x="3308436" y="2438066"/>
              <a:ext cx="9446" cy="114968"/>
            </a:xfrm>
            <a:custGeom>
              <a:avLst/>
              <a:gdLst>
                <a:gd name="connsiteX0" fmla="*/ 103773 w 207546"/>
                <a:gd name="connsiteY0" fmla="*/ 0 h 2525926"/>
                <a:gd name="connsiteX1" fmla="*/ 207546 w 207546"/>
                <a:gd name="connsiteY1" fmla="*/ 103773 h 2525926"/>
                <a:gd name="connsiteX2" fmla="*/ 207546 w 207546"/>
                <a:gd name="connsiteY2" fmla="*/ 2525926 h 2525926"/>
                <a:gd name="connsiteX3" fmla="*/ 0 w 207546"/>
                <a:gd name="connsiteY3" fmla="*/ 2525926 h 2525926"/>
                <a:gd name="connsiteX4" fmla="*/ 0 w 207546"/>
                <a:gd name="connsiteY4" fmla="*/ 103773 h 2525926"/>
                <a:gd name="connsiteX5" fmla="*/ 103773 w 207546"/>
                <a:gd name="connsiteY5" fmla="*/ 0 h 252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546" h="2525926">
                  <a:moveTo>
                    <a:pt x="103773" y="0"/>
                  </a:moveTo>
                  <a:cubicBezTo>
                    <a:pt x="161087" y="0"/>
                    <a:pt x="207546" y="46459"/>
                    <a:pt x="207546" y="103773"/>
                  </a:cubicBezTo>
                  <a:lnTo>
                    <a:pt x="207546" y="2525926"/>
                  </a:lnTo>
                  <a:lnTo>
                    <a:pt x="0" y="2525926"/>
                  </a:lnTo>
                  <a:lnTo>
                    <a:pt x="0" y="103773"/>
                  </a:lnTo>
                  <a:cubicBezTo>
                    <a:pt x="0" y="46459"/>
                    <a:pt x="46459" y="0"/>
                    <a:pt x="103773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49" name="Group 148"/>
            <p:cNvGrpSpPr/>
            <p:nvPr/>
          </p:nvGrpSpPr>
          <p:grpSpPr>
            <a:xfrm>
              <a:off x="1901294" y="2821102"/>
              <a:ext cx="719207" cy="721878"/>
              <a:chOff x="1660875" y="2846597"/>
              <a:chExt cx="719207" cy="721878"/>
            </a:xfrm>
          </p:grpSpPr>
          <p:sp>
            <p:nvSpPr>
              <p:cNvPr id="150" name="Freeform 149"/>
              <p:cNvSpPr/>
              <p:nvPr/>
            </p:nvSpPr>
            <p:spPr>
              <a:xfrm>
                <a:off x="1660875" y="2846597"/>
                <a:ext cx="719207" cy="721878"/>
              </a:xfrm>
              <a:custGeom>
                <a:avLst/>
                <a:gdLst>
                  <a:gd name="connsiteX0" fmla="*/ 650734 w 1328932"/>
                  <a:gd name="connsiteY0" fmla="*/ 0 h 1333866"/>
                  <a:gd name="connsiteX1" fmla="*/ 673812 w 1328932"/>
                  <a:gd name="connsiteY1" fmla="*/ 79029 h 1333866"/>
                  <a:gd name="connsiteX2" fmla="*/ 737265 w 1328932"/>
                  <a:gd name="connsiteY2" fmla="*/ 83600 h 1333866"/>
                  <a:gd name="connsiteX3" fmla="*/ 773421 w 1328932"/>
                  <a:gd name="connsiteY3" fmla="*/ 6872 h 1333866"/>
                  <a:gd name="connsiteX4" fmla="*/ 827889 w 1328932"/>
                  <a:gd name="connsiteY4" fmla="*/ 18371 h 1333866"/>
                  <a:gd name="connsiteX5" fmla="*/ 829920 w 1328932"/>
                  <a:gd name="connsiteY5" fmla="*/ 102056 h 1333866"/>
                  <a:gd name="connsiteX6" fmla="*/ 831348 w 1328932"/>
                  <a:gd name="connsiteY6" fmla="*/ 102369 h 1333866"/>
                  <a:gd name="connsiteX7" fmla="*/ 889394 w 1328932"/>
                  <a:gd name="connsiteY7" fmla="*/ 124065 h 1333866"/>
                  <a:gd name="connsiteX8" fmla="*/ 946313 w 1328932"/>
                  <a:gd name="connsiteY8" fmla="*/ 59656 h 1333866"/>
                  <a:gd name="connsiteX9" fmla="*/ 995394 w 1328932"/>
                  <a:gd name="connsiteY9" fmla="*/ 85925 h 1333866"/>
                  <a:gd name="connsiteX10" fmla="*/ 973958 w 1328932"/>
                  <a:gd name="connsiteY10" fmla="*/ 166793 h 1333866"/>
                  <a:gd name="connsiteX11" fmla="*/ 979500 w 1328932"/>
                  <a:gd name="connsiteY11" fmla="*/ 169802 h 1333866"/>
                  <a:gd name="connsiteX12" fmla="*/ 1029879 w 1328932"/>
                  <a:gd name="connsiteY12" fmla="*/ 205872 h 1333866"/>
                  <a:gd name="connsiteX13" fmla="*/ 1101640 w 1328932"/>
                  <a:gd name="connsiteY13" fmla="*/ 160568 h 1333866"/>
                  <a:gd name="connsiteX14" fmla="*/ 1141398 w 1328932"/>
                  <a:gd name="connsiteY14" fmla="*/ 199536 h 1333866"/>
                  <a:gd name="connsiteX15" fmla="*/ 1098344 w 1328932"/>
                  <a:gd name="connsiteY15" fmla="*/ 270865 h 1333866"/>
                  <a:gd name="connsiteX16" fmla="*/ 1122993 w 1328932"/>
                  <a:gd name="connsiteY16" fmla="*/ 298349 h 1333866"/>
                  <a:gd name="connsiteX17" fmla="*/ 1143724 w 1328932"/>
                  <a:gd name="connsiteY17" fmla="*/ 328433 h 1333866"/>
                  <a:gd name="connsiteX18" fmla="*/ 1223600 w 1328932"/>
                  <a:gd name="connsiteY18" fmla="*/ 305308 h 1333866"/>
                  <a:gd name="connsiteX19" fmla="*/ 1250976 w 1328932"/>
                  <a:gd name="connsiteY19" fmla="*/ 353781 h 1333866"/>
                  <a:gd name="connsiteX20" fmla="*/ 1191329 w 1328932"/>
                  <a:gd name="connsiteY20" fmla="*/ 408950 h 1333866"/>
                  <a:gd name="connsiteX21" fmla="*/ 1210078 w 1328932"/>
                  <a:gd name="connsiteY21" fmla="*/ 447173 h 1333866"/>
                  <a:gd name="connsiteX22" fmla="*/ 1215570 w 1328932"/>
                  <a:gd name="connsiteY22" fmla="*/ 462927 h 1333866"/>
                  <a:gd name="connsiteX23" fmla="*/ 1297622 w 1328932"/>
                  <a:gd name="connsiteY23" fmla="*/ 459842 h 1333866"/>
                  <a:gd name="connsiteX24" fmla="*/ 1312464 w 1328932"/>
                  <a:gd name="connsiteY24" fmla="*/ 513497 h 1333866"/>
                  <a:gd name="connsiteX25" fmla="*/ 1241172 w 1328932"/>
                  <a:gd name="connsiteY25" fmla="*/ 552647 h 1333866"/>
                  <a:gd name="connsiteX26" fmla="*/ 1249127 w 1328932"/>
                  <a:gd name="connsiteY26" fmla="*/ 605882 h 1333866"/>
                  <a:gd name="connsiteX27" fmla="*/ 1250047 w 1328932"/>
                  <a:gd name="connsiteY27" fmla="*/ 624091 h 1333866"/>
                  <a:gd name="connsiteX28" fmla="*/ 1328932 w 1328932"/>
                  <a:gd name="connsiteY28" fmla="*/ 642753 h 1333866"/>
                  <a:gd name="connsiteX29" fmla="*/ 1328932 w 1328932"/>
                  <a:gd name="connsiteY29" fmla="*/ 698423 h 1333866"/>
                  <a:gd name="connsiteX30" fmla="*/ 1249387 w 1328932"/>
                  <a:gd name="connsiteY30" fmla="*/ 717241 h 1333866"/>
                  <a:gd name="connsiteX31" fmla="*/ 1248684 w 1328932"/>
                  <a:gd name="connsiteY31" fmla="*/ 730252 h 1333866"/>
                  <a:gd name="connsiteX32" fmla="*/ 1241256 w 1328932"/>
                  <a:gd name="connsiteY32" fmla="*/ 775655 h 1333866"/>
                  <a:gd name="connsiteX33" fmla="*/ 1313610 w 1328932"/>
                  <a:gd name="connsiteY33" fmla="*/ 816722 h 1333866"/>
                  <a:gd name="connsiteX34" fmla="*/ 1298015 w 1328932"/>
                  <a:gd name="connsiteY34" fmla="*/ 870162 h 1333866"/>
                  <a:gd name="connsiteX35" fmla="*/ 1216626 w 1328932"/>
                  <a:gd name="connsiteY35" fmla="*/ 865957 h 1333866"/>
                  <a:gd name="connsiteX36" fmla="*/ 1199435 w 1328932"/>
                  <a:gd name="connsiteY36" fmla="*/ 909582 h 1333866"/>
                  <a:gd name="connsiteX37" fmla="*/ 1190578 w 1328932"/>
                  <a:gd name="connsiteY37" fmla="*/ 927031 h 1333866"/>
                  <a:gd name="connsiteX38" fmla="*/ 1249948 w 1328932"/>
                  <a:gd name="connsiteY38" fmla="*/ 987184 h 1333866"/>
                  <a:gd name="connsiteX39" fmla="*/ 1220394 w 1328932"/>
                  <a:gd name="connsiteY39" fmla="*/ 1034361 h 1333866"/>
                  <a:gd name="connsiteX40" fmla="*/ 1142032 w 1328932"/>
                  <a:gd name="connsiteY40" fmla="*/ 1007753 h 1333866"/>
                  <a:gd name="connsiteX41" fmla="*/ 1123131 w 1328932"/>
                  <a:gd name="connsiteY41" fmla="*/ 1033400 h 1333866"/>
                  <a:gd name="connsiteX42" fmla="*/ 1101486 w 1328932"/>
                  <a:gd name="connsiteY42" fmla="*/ 1057553 h 1333866"/>
                  <a:gd name="connsiteX43" fmla="*/ 1142950 w 1328932"/>
                  <a:gd name="connsiteY43" fmla="*/ 1129630 h 1333866"/>
                  <a:gd name="connsiteX44" fmla="*/ 1102383 w 1328932"/>
                  <a:gd name="connsiteY44" fmla="*/ 1167754 h 1333866"/>
                  <a:gd name="connsiteX45" fmla="*/ 1034133 w 1328932"/>
                  <a:gd name="connsiteY45" fmla="*/ 1122634 h 1333866"/>
                  <a:gd name="connsiteX46" fmla="*/ 1032173 w 1328932"/>
                  <a:gd name="connsiteY46" fmla="*/ 1124392 h 1333866"/>
                  <a:gd name="connsiteX47" fmla="*/ 979289 w 1328932"/>
                  <a:gd name="connsiteY47" fmla="*/ 1160837 h 1333866"/>
                  <a:gd name="connsiteX48" fmla="*/ 1000685 w 1328932"/>
                  <a:gd name="connsiteY48" fmla="*/ 1238240 h 1333866"/>
                  <a:gd name="connsiteX49" fmla="*/ 951883 w 1328932"/>
                  <a:gd name="connsiteY49" fmla="*/ 1265027 h 1333866"/>
                  <a:gd name="connsiteX50" fmla="*/ 897347 w 1328932"/>
                  <a:gd name="connsiteY50" fmla="*/ 1204611 h 1333866"/>
                  <a:gd name="connsiteX51" fmla="*/ 883350 w 1328932"/>
                  <a:gd name="connsiteY51" fmla="*/ 1211476 h 1333866"/>
                  <a:gd name="connsiteX52" fmla="*/ 839354 w 1328932"/>
                  <a:gd name="connsiteY52" fmla="*/ 1226815 h 1333866"/>
                  <a:gd name="connsiteX53" fmla="*/ 836102 w 1328932"/>
                  <a:gd name="connsiteY53" fmla="*/ 1310758 h 1333866"/>
                  <a:gd name="connsiteX54" fmla="*/ 781473 w 1328932"/>
                  <a:gd name="connsiteY54" fmla="*/ 1321469 h 1333866"/>
                  <a:gd name="connsiteX55" fmla="*/ 747723 w 1328932"/>
                  <a:gd name="connsiteY55" fmla="*/ 1247077 h 1333866"/>
                  <a:gd name="connsiteX56" fmla="*/ 724640 w 1328932"/>
                  <a:gd name="connsiteY56" fmla="*/ 1250526 h 1333866"/>
                  <a:gd name="connsiteX57" fmla="*/ 680478 w 1328932"/>
                  <a:gd name="connsiteY57" fmla="*/ 1252756 h 1333866"/>
                  <a:gd name="connsiteX58" fmla="*/ 661856 w 1328932"/>
                  <a:gd name="connsiteY58" fmla="*/ 1333866 h 1333866"/>
                  <a:gd name="connsiteX59" fmla="*/ 596350 w 1328932"/>
                  <a:gd name="connsiteY59" fmla="*/ 1330734 h 1333866"/>
                  <a:gd name="connsiteX60" fmla="*/ 585472 w 1328932"/>
                  <a:gd name="connsiteY60" fmla="*/ 1247624 h 1333866"/>
                  <a:gd name="connsiteX61" fmla="*/ 546140 w 1328932"/>
                  <a:gd name="connsiteY61" fmla="*/ 1241622 h 1333866"/>
                  <a:gd name="connsiteX62" fmla="*/ 517647 w 1328932"/>
                  <a:gd name="connsiteY62" fmla="*/ 1234296 h 1333866"/>
                  <a:gd name="connsiteX63" fmla="*/ 473128 w 1328932"/>
                  <a:gd name="connsiteY63" fmla="*/ 1305805 h 1333866"/>
                  <a:gd name="connsiteX64" fmla="*/ 420365 w 1328932"/>
                  <a:gd name="connsiteY64" fmla="*/ 1288054 h 1333866"/>
                  <a:gd name="connsiteX65" fmla="*/ 428168 w 1328932"/>
                  <a:gd name="connsiteY65" fmla="*/ 1203686 h 1333866"/>
                  <a:gd name="connsiteX66" fmla="*/ 384478 w 1328932"/>
                  <a:gd name="connsiteY66" fmla="*/ 1182639 h 1333866"/>
                  <a:gd name="connsiteX67" fmla="*/ 369786 w 1328932"/>
                  <a:gd name="connsiteY67" fmla="*/ 1173432 h 1333866"/>
                  <a:gd name="connsiteX68" fmla="*/ 307149 w 1328932"/>
                  <a:gd name="connsiteY68" fmla="*/ 1230379 h 1333866"/>
                  <a:gd name="connsiteX69" fmla="*/ 261223 w 1328932"/>
                  <a:gd name="connsiteY69" fmla="*/ 1198917 h 1333866"/>
                  <a:gd name="connsiteX70" fmla="*/ 292070 w 1328932"/>
                  <a:gd name="connsiteY70" fmla="*/ 1118989 h 1333866"/>
                  <a:gd name="connsiteX71" fmla="*/ 266224 w 1328932"/>
                  <a:gd name="connsiteY71" fmla="*/ 1097936 h 1333866"/>
                  <a:gd name="connsiteX72" fmla="*/ 244458 w 1328932"/>
                  <a:gd name="connsiteY72" fmla="*/ 1075225 h 1333866"/>
                  <a:gd name="connsiteX73" fmla="*/ 170858 w 1328932"/>
                  <a:gd name="connsiteY73" fmla="*/ 1111425 h 1333866"/>
                  <a:gd name="connsiteX74" fmla="*/ 135448 w 1328932"/>
                  <a:gd name="connsiteY74" fmla="*/ 1068469 h 1333866"/>
                  <a:gd name="connsiteX75" fmla="*/ 184688 w 1328932"/>
                  <a:gd name="connsiteY75" fmla="*/ 1003573 h 1333866"/>
                  <a:gd name="connsiteX76" fmla="*/ 172420 w 1328932"/>
                  <a:gd name="connsiteY76" fmla="*/ 987127 h 1333866"/>
                  <a:gd name="connsiteX77" fmla="*/ 147185 w 1328932"/>
                  <a:gd name="connsiteY77" fmla="*/ 943990 h 1333866"/>
                  <a:gd name="connsiteX78" fmla="*/ 62973 w 1328932"/>
                  <a:gd name="connsiteY78" fmla="*/ 954755 h 1333866"/>
                  <a:gd name="connsiteX79" fmla="*/ 43391 w 1328932"/>
                  <a:gd name="connsiteY79" fmla="*/ 902643 h 1333866"/>
                  <a:gd name="connsiteX80" fmla="*/ 109846 w 1328932"/>
                  <a:gd name="connsiteY80" fmla="*/ 857979 h 1333866"/>
                  <a:gd name="connsiteX81" fmla="*/ 99254 w 1328932"/>
                  <a:gd name="connsiteY81" fmla="*/ 826823 h 1333866"/>
                  <a:gd name="connsiteX82" fmla="*/ 91285 w 1328932"/>
                  <a:gd name="connsiteY82" fmla="*/ 789027 h 1333866"/>
                  <a:gd name="connsiteX83" fmla="*/ 6677 w 1328932"/>
                  <a:gd name="connsiteY83" fmla="*/ 779505 h 1333866"/>
                  <a:gd name="connsiteX84" fmla="*/ 0 w 1328932"/>
                  <a:gd name="connsiteY84" fmla="*/ 724237 h 1333866"/>
                  <a:gd name="connsiteX85" fmla="*/ 78990 w 1328932"/>
                  <a:gd name="connsiteY85" fmla="*/ 695176 h 1333866"/>
                  <a:gd name="connsiteX86" fmla="*/ 76963 w 1328932"/>
                  <a:gd name="connsiteY86" fmla="*/ 665961 h 1333866"/>
                  <a:gd name="connsiteX87" fmla="*/ 79576 w 1328932"/>
                  <a:gd name="connsiteY87" fmla="*/ 627118 h 1333866"/>
                  <a:gd name="connsiteX88" fmla="*/ 2614 w 1328932"/>
                  <a:gd name="connsiteY88" fmla="*/ 599172 h 1333866"/>
                  <a:gd name="connsiteX89" fmla="*/ 9058 w 1328932"/>
                  <a:gd name="connsiteY89" fmla="*/ 543876 h 1333866"/>
                  <a:gd name="connsiteX90" fmla="*/ 92983 w 1328932"/>
                  <a:gd name="connsiteY90" fmla="*/ 534071 h 1333866"/>
                  <a:gd name="connsiteX91" fmla="*/ 97943 w 1328932"/>
                  <a:gd name="connsiteY91" fmla="*/ 509790 h 1333866"/>
                  <a:gd name="connsiteX92" fmla="*/ 113985 w 1328932"/>
                  <a:gd name="connsiteY92" fmla="*/ 463592 h 1333866"/>
                  <a:gd name="connsiteX93" fmla="*/ 48447 w 1328932"/>
                  <a:gd name="connsiteY93" fmla="*/ 415605 h 1333866"/>
                  <a:gd name="connsiteX94" fmla="*/ 70110 w 1328932"/>
                  <a:gd name="connsiteY94" fmla="*/ 364324 h 1333866"/>
                  <a:gd name="connsiteX95" fmla="*/ 152721 w 1328932"/>
                  <a:gd name="connsiteY95" fmla="*/ 378283 h 1333866"/>
                  <a:gd name="connsiteX96" fmla="*/ 157150 w 1328932"/>
                  <a:gd name="connsiteY96" fmla="*/ 369453 h 1333866"/>
                  <a:gd name="connsiteX97" fmla="*/ 186297 w 1328932"/>
                  <a:gd name="connsiteY97" fmla="*/ 325075 h 1333866"/>
                  <a:gd name="connsiteX98" fmla="*/ 136161 w 1328932"/>
                  <a:gd name="connsiteY98" fmla="*/ 260212 h 1333866"/>
                  <a:gd name="connsiteX99" fmla="*/ 171186 w 1328932"/>
                  <a:gd name="connsiteY99" fmla="*/ 216941 h 1333866"/>
                  <a:gd name="connsiteX100" fmla="*/ 247151 w 1328932"/>
                  <a:gd name="connsiteY100" fmla="*/ 253464 h 1333866"/>
                  <a:gd name="connsiteX101" fmla="*/ 270780 w 1328932"/>
                  <a:gd name="connsiteY101" fmla="*/ 229826 h 1333866"/>
                  <a:gd name="connsiteX102" fmla="*/ 297792 w 1328932"/>
                  <a:gd name="connsiteY102" fmla="*/ 208570 h 1333866"/>
                  <a:gd name="connsiteX103" fmla="*/ 270314 w 1328932"/>
                  <a:gd name="connsiteY103" fmla="*/ 128437 h 1333866"/>
                  <a:gd name="connsiteX104" fmla="*/ 317402 w 1328932"/>
                  <a:gd name="connsiteY104" fmla="*/ 98741 h 1333866"/>
                  <a:gd name="connsiteX105" fmla="*/ 375534 w 1328932"/>
                  <a:gd name="connsiteY105" fmla="*/ 155773 h 1333866"/>
                  <a:gd name="connsiteX106" fmla="*/ 403413 w 1328932"/>
                  <a:gd name="connsiteY106" fmla="*/ 139438 h 1333866"/>
                  <a:gd name="connsiteX107" fmla="*/ 430496 w 1328932"/>
                  <a:gd name="connsiteY107" fmla="*/ 127395 h 1333866"/>
                  <a:gd name="connsiteX108" fmla="*/ 422175 w 1328932"/>
                  <a:gd name="connsiteY108" fmla="*/ 43886 h 1333866"/>
                  <a:gd name="connsiteX109" fmla="*/ 474812 w 1328932"/>
                  <a:gd name="connsiteY109" fmla="*/ 25761 h 1333866"/>
                  <a:gd name="connsiteX110" fmla="*/ 519802 w 1328932"/>
                  <a:gd name="connsiteY110" fmla="*/ 96899 h 1333866"/>
                  <a:gd name="connsiteX111" fmla="*/ 546140 w 1328932"/>
                  <a:gd name="connsiteY111" fmla="*/ 90300 h 1333866"/>
                  <a:gd name="connsiteX112" fmla="*/ 580134 w 1328932"/>
                  <a:gd name="connsiteY112" fmla="*/ 85112 h 1333866"/>
                  <a:gd name="connsiteX113" fmla="*/ 595139 w 1328932"/>
                  <a:gd name="connsiteY113" fmla="*/ 2884 h 1333866"/>
                  <a:gd name="connsiteX114" fmla="*/ 650734 w 1328932"/>
                  <a:gd name="connsiteY114" fmla="*/ 0 h 1333866"/>
                  <a:gd name="connsiteX115" fmla="*/ 664466 w 1328932"/>
                  <a:gd name="connsiteY115" fmla="*/ 190154 h 1333866"/>
                  <a:gd name="connsiteX116" fmla="*/ 187687 w 1328932"/>
                  <a:gd name="connsiteY116" fmla="*/ 666933 h 1333866"/>
                  <a:gd name="connsiteX117" fmla="*/ 664466 w 1328932"/>
                  <a:gd name="connsiteY117" fmla="*/ 1143712 h 1333866"/>
                  <a:gd name="connsiteX118" fmla="*/ 1141245 w 1328932"/>
                  <a:gd name="connsiteY118" fmla="*/ 666933 h 1333866"/>
                  <a:gd name="connsiteX119" fmla="*/ 664466 w 1328932"/>
                  <a:gd name="connsiteY119" fmla="*/ 190154 h 1333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328932" h="1333866">
                    <a:moveTo>
                      <a:pt x="650734" y="0"/>
                    </a:moveTo>
                    <a:lnTo>
                      <a:pt x="673812" y="79029"/>
                    </a:lnTo>
                    <a:lnTo>
                      <a:pt x="737265" y="83600"/>
                    </a:lnTo>
                    <a:lnTo>
                      <a:pt x="773421" y="6872"/>
                    </a:lnTo>
                    <a:lnTo>
                      <a:pt x="827889" y="18371"/>
                    </a:lnTo>
                    <a:lnTo>
                      <a:pt x="829920" y="102056"/>
                    </a:lnTo>
                    <a:lnTo>
                      <a:pt x="831348" y="102369"/>
                    </a:lnTo>
                    <a:lnTo>
                      <a:pt x="889394" y="124065"/>
                    </a:lnTo>
                    <a:lnTo>
                      <a:pt x="946313" y="59656"/>
                    </a:lnTo>
                    <a:lnTo>
                      <a:pt x="995394" y="85925"/>
                    </a:lnTo>
                    <a:lnTo>
                      <a:pt x="973958" y="166793"/>
                    </a:lnTo>
                    <a:lnTo>
                      <a:pt x="979500" y="169802"/>
                    </a:lnTo>
                    <a:lnTo>
                      <a:pt x="1029879" y="205872"/>
                    </a:lnTo>
                    <a:lnTo>
                      <a:pt x="1101640" y="160568"/>
                    </a:lnTo>
                    <a:lnTo>
                      <a:pt x="1141398" y="199536"/>
                    </a:lnTo>
                    <a:lnTo>
                      <a:pt x="1098344" y="270865"/>
                    </a:lnTo>
                    <a:lnTo>
                      <a:pt x="1122993" y="298349"/>
                    </a:lnTo>
                    <a:lnTo>
                      <a:pt x="1143724" y="328433"/>
                    </a:lnTo>
                    <a:lnTo>
                      <a:pt x="1223600" y="305308"/>
                    </a:lnTo>
                    <a:lnTo>
                      <a:pt x="1250976" y="353781"/>
                    </a:lnTo>
                    <a:lnTo>
                      <a:pt x="1191329" y="408950"/>
                    </a:lnTo>
                    <a:lnTo>
                      <a:pt x="1210078" y="447173"/>
                    </a:lnTo>
                    <a:lnTo>
                      <a:pt x="1215570" y="462927"/>
                    </a:lnTo>
                    <a:lnTo>
                      <a:pt x="1297622" y="459842"/>
                    </a:lnTo>
                    <a:lnTo>
                      <a:pt x="1312464" y="513497"/>
                    </a:lnTo>
                    <a:lnTo>
                      <a:pt x="1241172" y="552647"/>
                    </a:lnTo>
                    <a:lnTo>
                      <a:pt x="1249127" y="605882"/>
                    </a:lnTo>
                    <a:lnTo>
                      <a:pt x="1250047" y="624091"/>
                    </a:lnTo>
                    <a:lnTo>
                      <a:pt x="1328932" y="642753"/>
                    </a:lnTo>
                    <a:lnTo>
                      <a:pt x="1328932" y="698423"/>
                    </a:lnTo>
                    <a:lnTo>
                      <a:pt x="1249387" y="717241"/>
                    </a:lnTo>
                    <a:lnTo>
                      <a:pt x="1248684" y="730252"/>
                    </a:lnTo>
                    <a:lnTo>
                      <a:pt x="1241256" y="775655"/>
                    </a:lnTo>
                    <a:lnTo>
                      <a:pt x="1313610" y="816722"/>
                    </a:lnTo>
                    <a:lnTo>
                      <a:pt x="1298015" y="870162"/>
                    </a:lnTo>
                    <a:lnTo>
                      <a:pt x="1216626" y="865957"/>
                    </a:lnTo>
                    <a:lnTo>
                      <a:pt x="1199435" y="909582"/>
                    </a:lnTo>
                    <a:lnTo>
                      <a:pt x="1190578" y="927031"/>
                    </a:lnTo>
                    <a:lnTo>
                      <a:pt x="1249948" y="987184"/>
                    </a:lnTo>
                    <a:lnTo>
                      <a:pt x="1220394" y="1034361"/>
                    </a:lnTo>
                    <a:lnTo>
                      <a:pt x="1142032" y="1007753"/>
                    </a:lnTo>
                    <a:lnTo>
                      <a:pt x="1123131" y="1033400"/>
                    </a:lnTo>
                    <a:lnTo>
                      <a:pt x="1101486" y="1057553"/>
                    </a:lnTo>
                    <a:lnTo>
                      <a:pt x="1142950" y="1129630"/>
                    </a:lnTo>
                    <a:lnTo>
                      <a:pt x="1102383" y="1167754"/>
                    </a:lnTo>
                    <a:lnTo>
                      <a:pt x="1034133" y="1122634"/>
                    </a:lnTo>
                    <a:lnTo>
                      <a:pt x="1032173" y="1124392"/>
                    </a:lnTo>
                    <a:lnTo>
                      <a:pt x="979289" y="1160837"/>
                    </a:lnTo>
                    <a:lnTo>
                      <a:pt x="1000685" y="1238240"/>
                    </a:lnTo>
                    <a:lnTo>
                      <a:pt x="951883" y="1265027"/>
                    </a:lnTo>
                    <a:lnTo>
                      <a:pt x="897347" y="1204611"/>
                    </a:lnTo>
                    <a:lnTo>
                      <a:pt x="883350" y="1211476"/>
                    </a:lnTo>
                    <a:lnTo>
                      <a:pt x="839354" y="1226815"/>
                    </a:lnTo>
                    <a:lnTo>
                      <a:pt x="836102" y="1310758"/>
                    </a:lnTo>
                    <a:lnTo>
                      <a:pt x="781473" y="1321469"/>
                    </a:lnTo>
                    <a:lnTo>
                      <a:pt x="747723" y="1247077"/>
                    </a:lnTo>
                    <a:lnTo>
                      <a:pt x="724640" y="1250526"/>
                    </a:lnTo>
                    <a:lnTo>
                      <a:pt x="680478" y="1252756"/>
                    </a:lnTo>
                    <a:lnTo>
                      <a:pt x="661856" y="1333866"/>
                    </a:lnTo>
                    <a:lnTo>
                      <a:pt x="596350" y="1330734"/>
                    </a:lnTo>
                    <a:lnTo>
                      <a:pt x="585472" y="1247624"/>
                    </a:lnTo>
                    <a:lnTo>
                      <a:pt x="546140" y="1241622"/>
                    </a:lnTo>
                    <a:lnTo>
                      <a:pt x="517647" y="1234296"/>
                    </a:lnTo>
                    <a:lnTo>
                      <a:pt x="473128" y="1305805"/>
                    </a:lnTo>
                    <a:lnTo>
                      <a:pt x="420365" y="1288054"/>
                    </a:lnTo>
                    <a:lnTo>
                      <a:pt x="428168" y="1203686"/>
                    </a:lnTo>
                    <a:lnTo>
                      <a:pt x="384478" y="1182639"/>
                    </a:lnTo>
                    <a:lnTo>
                      <a:pt x="369786" y="1173432"/>
                    </a:lnTo>
                    <a:lnTo>
                      <a:pt x="307149" y="1230379"/>
                    </a:lnTo>
                    <a:lnTo>
                      <a:pt x="261223" y="1198917"/>
                    </a:lnTo>
                    <a:lnTo>
                      <a:pt x="292070" y="1118989"/>
                    </a:lnTo>
                    <a:lnTo>
                      <a:pt x="266224" y="1097936"/>
                    </a:lnTo>
                    <a:lnTo>
                      <a:pt x="244458" y="1075225"/>
                    </a:lnTo>
                    <a:lnTo>
                      <a:pt x="170858" y="1111425"/>
                    </a:lnTo>
                    <a:lnTo>
                      <a:pt x="135448" y="1068469"/>
                    </a:lnTo>
                    <a:lnTo>
                      <a:pt x="184688" y="1003573"/>
                    </a:lnTo>
                    <a:lnTo>
                      <a:pt x="172420" y="987127"/>
                    </a:lnTo>
                    <a:lnTo>
                      <a:pt x="147185" y="943990"/>
                    </a:lnTo>
                    <a:lnTo>
                      <a:pt x="62973" y="954755"/>
                    </a:lnTo>
                    <a:lnTo>
                      <a:pt x="43391" y="902643"/>
                    </a:lnTo>
                    <a:lnTo>
                      <a:pt x="109846" y="857979"/>
                    </a:lnTo>
                    <a:lnTo>
                      <a:pt x="99254" y="826823"/>
                    </a:lnTo>
                    <a:lnTo>
                      <a:pt x="91285" y="789027"/>
                    </a:lnTo>
                    <a:lnTo>
                      <a:pt x="6677" y="779505"/>
                    </a:lnTo>
                    <a:lnTo>
                      <a:pt x="0" y="724237"/>
                    </a:lnTo>
                    <a:lnTo>
                      <a:pt x="78990" y="695176"/>
                    </a:lnTo>
                    <a:lnTo>
                      <a:pt x="76963" y="665961"/>
                    </a:lnTo>
                    <a:lnTo>
                      <a:pt x="79576" y="627118"/>
                    </a:lnTo>
                    <a:lnTo>
                      <a:pt x="2614" y="599172"/>
                    </a:lnTo>
                    <a:lnTo>
                      <a:pt x="9058" y="543876"/>
                    </a:lnTo>
                    <a:lnTo>
                      <a:pt x="92983" y="534071"/>
                    </a:lnTo>
                    <a:lnTo>
                      <a:pt x="97943" y="509790"/>
                    </a:lnTo>
                    <a:lnTo>
                      <a:pt x="113985" y="463592"/>
                    </a:lnTo>
                    <a:lnTo>
                      <a:pt x="48447" y="415605"/>
                    </a:lnTo>
                    <a:lnTo>
                      <a:pt x="70110" y="364324"/>
                    </a:lnTo>
                    <a:lnTo>
                      <a:pt x="152721" y="378283"/>
                    </a:lnTo>
                    <a:lnTo>
                      <a:pt x="157150" y="369453"/>
                    </a:lnTo>
                    <a:lnTo>
                      <a:pt x="186297" y="325075"/>
                    </a:lnTo>
                    <a:lnTo>
                      <a:pt x="136161" y="260212"/>
                    </a:lnTo>
                    <a:lnTo>
                      <a:pt x="171186" y="216941"/>
                    </a:lnTo>
                    <a:lnTo>
                      <a:pt x="247151" y="253464"/>
                    </a:lnTo>
                    <a:lnTo>
                      <a:pt x="270780" y="229826"/>
                    </a:lnTo>
                    <a:lnTo>
                      <a:pt x="297792" y="208570"/>
                    </a:lnTo>
                    <a:lnTo>
                      <a:pt x="270314" y="128437"/>
                    </a:lnTo>
                    <a:lnTo>
                      <a:pt x="317402" y="98741"/>
                    </a:lnTo>
                    <a:lnTo>
                      <a:pt x="375534" y="155773"/>
                    </a:lnTo>
                    <a:lnTo>
                      <a:pt x="403413" y="139438"/>
                    </a:lnTo>
                    <a:lnTo>
                      <a:pt x="430496" y="127395"/>
                    </a:lnTo>
                    <a:lnTo>
                      <a:pt x="422175" y="43886"/>
                    </a:lnTo>
                    <a:lnTo>
                      <a:pt x="474812" y="25761"/>
                    </a:lnTo>
                    <a:lnTo>
                      <a:pt x="519802" y="96899"/>
                    </a:lnTo>
                    <a:lnTo>
                      <a:pt x="546140" y="90300"/>
                    </a:lnTo>
                    <a:lnTo>
                      <a:pt x="580134" y="85112"/>
                    </a:lnTo>
                    <a:lnTo>
                      <a:pt x="595139" y="2884"/>
                    </a:lnTo>
                    <a:lnTo>
                      <a:pt x="650734" y="0"/>
                    </a:lnTo>
                    <a:close/>
                    <a:moveTo>
                      <a:pt x="664466" y="190154"/>
                    </a:moveTo>
                    <a:cubicBezTo>
                      <a:pt x="401148" y="190154"/>
                      <a:pt x="187687" y="403615"/>
                      <a:pt x="187687" y="666933"/>
                    </a:cubicBezTo>
                    <a:cubicBezTo>
                      <a:pt x="187687" y="930251"/>
                      <a:pt x="401148" y="1143712"/>
                      <a:pt x="664466" y="1143712"/>
                    </a:cubicBezTo>
                    <a:cubicBezTo>
                      <a:pt x="927784" y="1143712"/>
                      <a:pt x="1141245" y="930251"/>
                      <a:pt x="1141245" y="666933"/>
                    </a:cubicBezTo>
                    <a:cubicBezTo>
                      <a:pt x="1141245" y="403615"/>
                      <a:pt x="927784" y="190154"/>
                      <a:pt x="664466" y="190154"/>
                    </a:cubicBezTo>
                    <a:close/>
                  </a:path>
                </a:pathLst>
              </a:custGeom>
              <a:solidFill>
                <a:srgbClr val="00206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1" name="Oval 150"/>
              <p:cNvSpPr/>
              <p:nvPr/>
            </p:nvSpPr>
            <p:spPr>
              <a:xfrm>
                <a:off x="1780695" y="2967753"/>
                <a:ext cx="479566" cy="479567"/>
              </a:xfrm>
              <a:prstGeom prst="ellipse">
                <a:avLst/>
              </a:prstGeom>
              <a:solidFill>
                <a:srgbClr val="00206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2" name="Freeform 151"/>
              <p:cNvSpPr/>
              <p:nvPr/>
            </p:nvSpPr>
            <p:spPr>
              <a:xfrm>
                <a:off x="1965936" y="3154037"/>
                <a:ext cx="107945" cy="107148"/>
              </a:xfrm>
              <a:custGeom>
                <a:avLst/>
                <a:gdLst>
                  <a:gd name="connsiteX0" fmla="*/ 1173387 w 2334255"/>
                  <a:gd name="connsiteY0" fmla="*/ 891273 h 2317034"/>
                  <a:gd name="connsiteX1" fmla="*/ 909614 w 2334255"/>
                  <a:gd name="connsiteY1" fmla="*/ 1154313 h 2317034"/>
                  <a:gd name="connsiteX2" fmla="*/ 1173387 w 2334255"/>
                  <a:gd name="connsiteY2" fmla="*/ 1417353 h 2317034"/>
                  <a:gd name="connsiteX3" fmla="*/ 1437160 w 2334255"/>
                  <a:gd name="connsiteY3" fmla="*/ 1154313 h 2317034"/>
                  <a:gd name="connsiteX4" fmla="*/ 1173387 w 2334255"/>
                  <a:gd name="connsiteY4" fmla="*/ 891273 h 2317034"/>
                  <a:gd name="connsiteX5" fmla="*/ 940186 w 2334255"/>
                  <a:gd name="connsiteY5" fmla="*/ 0 h 2317034"/>
                  <a:gd name="connsiteX6" fmla="*/ 1411288 w 2334255"/>
                  <a:gd name="connsiteY6" fmla="*/ 0 h 2317034"/>
                  <a:gd name="connsiteX7" fmla="*/ 1411288 w 2334255"/>
                  <a:gd name="connsiteY7" fmla="*/ 383639 h 2317034"/>
                  <a:gd name="connsiteX8" fmla="*/ 1413816 w 2334255"/>
                  <a:gd name="connsiteY8" fmla="*/ 384287 h 2317034"/>
                  <a:gd name="connsiteX9" fmla="*/ 1488099 w 2334255"/>
                  <a:gd name="connsiteY9" fmla="*/ 411399 h 2317034"/>
                  <a:gd name="connsiteX10" fmla="*/ 1533435 w 2334255"/>
                  <a:gd name="connsiteY10" fmla="*/ 435938 h 2317034"/>
                  <a:gd name="connsiteX11" fmla="*/ 1836305 w 2334255"/>
                  <a:gd name="connsiteY11" fmla="*/ 133068 h 2317034"/>
                  <a:gd name="connsiteX12" fmla="*/ 2199593 w 2334255"/>
                  <a:gd name="connsiteY12" fmla="*/ 496356 h 2317034"/>
                  <a:gd name="connsiteX13" fmla="*/ 1896202 w 2334255"/>
                  <a:gd name="connsiteY13" fmla="*/ 799747 h 2317034"/>
                  <a:gd name="connsiteX14" fmla="*/ 1918370 w 2334255"/>
                  <a:gd name="connsiteY14" fmla="*/ 840475 h 2317034"/>
                  <a:gd name="connsiteX15" fmla="*/ 1945558 w 2334255"/>
                  <a:gd name="connsiteY15" fmla="*/ 914552 h 2317034"/>
                  <a:gd name="connsiteX16" fmla="*/ 1948956 w 2334255"/>
                  <a:gd name="connsiteY16" fmla="*/ 927731 h 2317034"/>
                  <a:gd name="connsiteX17" fmla="*/ 2334255 w 2334255"/>
                  <a:gd name="connsiteY17" fmla="*/ 927731 h 2317034"/>
                  <a:gd name="connsiteX18" fmla="*/ 2334255 w 2334255"/>
                  <a:gd name="connsiteY18" fmla="*/ 1383586 h 2317034"/>
                  <a:gd name="connsiteX19" fmla="*/ 1948262 w 2334255"/>
                  <a:gd name="connsiteY19" fmla="*/ 1383586 h 2317034"/>
                  <a:gd name="connsiteX20" fmla="*/ 1945558 w 2334255"/>
                  <a:gd name="connsiteY20" fmla="*/ 1394074 h 2317034"/>
                  <a:gd name="connsiteX21" fmla="*/ 1918370 w 2334255"/>
                  <a:gd name="connsiteY21" fmla="*/ 1468152 h 2317034"/>
                  <a:gd name="connsiteX22" fmla="*/ 1893705 w 2334255"/>
                  <a:gd name="connsiteY22" fmla="*/ 1513465 h 2317034"/>
                  <a:gd name="connsiteX23" fmla="*/ 2199593 w 2334255"/>
                  <a:gd name="connsiteY23" fmla="*/ 1819353 h 2317034"/>
                  <a:gd name="connsiteX24" fmla="*/ 1836305 w 2334255"/>
                  <a:gd name="connsiteY24" fmla="*/ 2182641 h 2317034"/>
                  <a:gd name="connsiteX25" fmla="*/ 1528839 w 2334255"/>
                  <a:gd name="connsiteY25" fmla="*/ 1875175 h 2317034"/>
                  <a:gd name="connsiteX26" fmla="*/ 1488099 w 2334255"/>
                  <a:gd name="connsiteY26" fmla="*/ 1897227 h 2317034"/>
                  <a:gd name="connsiteX27" fmla="*/ 1413816 w 2334255"/>
                  <a:gd name="connsiteY27" fmla="*/ 1924340 h 2317034"/>
                  <a:gd name="connsiteX28" fmla="*/ 1411288 w 2334255"/>
                  <a:gd name="connsiteY28" fmla="*/ 1924988 h 2317034"/>
                  <a:gd name="connsiteX29" fmla="*/ 1411288 w 2334255"/>
                  <a:gd name="connsiteY29" fmla="*/ 2317034 h 2317034"/>
                  <a:gd name="connsiteX30" fmla="*/ 940186 w 2334255"/>
                  <a:gd name="connsiteY30" fmla="*/ 2317034 h 2317034"/>
                  <a:gd name="connsiteX31" fmla="*/ 940186 w 2334255"/>
                  <a:gd name="connsiteY31" fmla="*/ 1926193 h 2317034"/>
                  <a:gd name="connsiteX32" fmla="*/ 932958 w 2334255"/>
                  <a:gd name="connsiteY32" fmla="*/ 1924340 h 2317034"/>
                  <a:gd name="connsiteX33" fmla="*/ 858675 w 2334255"/>
                  <a:gd name="connsiteY33" fmla="*/ 1897227 h 2317034"/>
                  <a:gd name="connsiteX34" fmla="*/ 819777 w 2334255"/>
                  <a:gd name="connsiteY34" fmla="*/ 1876172 h 2317034"/>
                  <a:gd name="connsiteX35" fmla="*/ 513308 w 2334255"/>
                  <a:gd name="connsiteY35" fmla="*/ 2182641 h 2317034"/>
                  <a:gd name="connsiteX36" fmla="*/ 150020 w 2334255"/>
                  <a:gd name="connsiteY36" fmla="*/ 1819353 h 2317034"/>
                  <a:gd name="connsiteX37" fmla="*/ 454069 w 2334255"/>
                  <a:gd name="connsiteY37" fmla="*/ 1515304 h 2317034"/>
                  <a:gd name="connsiteX38" fmla="*/ 428404 w 2334255"/>
                  <a:gd name="connsiteY38" fmla="*/ 1468152 h 2317034"/>
                  <a:gd name="connsiteX39" fmla="*/ 401216 w 2334255"/>
                  <a:gd name="connsiteY39" fmla="*/ 1394074 h 2317034"/>
                  <a:gd name="connsiteX40" fmla="*/ 398512 w 2334255"/>
                  <a:gd name="connsiteY40" fmla="*/ 1383586 h 2317034"/>
                  <a:gd name="connsiteX41" fmla="*/ 0 w 2334255"/>
                  <a:gd name="connsiteY41" fmla="*/ 1383586 h 2317034"/>
                  <a:gd name="connsiteX42" fmla="*/ 0 w 2334255"/>
                  <a:gd name="connsiteY42" fmla="*/ 927731 h 2317034"/>
                  <a:gd name="connsiteX43" fmla="*/ 397818 w 2334255"/>
                  <a:gd name="connsiteY43" fmla="*/ 927731 h 2317034"/>
                  <a:gd name="connsiteX44" fmla="*/ 401216 w 2334255"/>
                  <a:gd name="connsiteY44" fmla="*/ 914552 h 2317034"/>
                  <a:gd name="connsiteX45" fmla="*/ 428404 w 2334255"/>
                  <a:gd name="connsiteY45" fmla="*/ 840475 h 2317034"/>
                  <a:gd name="connsiteX46" fmla="*/ 451573 w 2334255"/>
                  <a:gd name="connsiteY46" fmla="*/ 797909 h 2317034"/>
                  <a:gd name="connsiteX47" fmla="*/ 150020 w 2334255"/>
                  <a:gd name="connsiteY47" fmla="*/ 496356 h 2317034"/>
                  <a:gd name="connsiteX48" fmla="*/ 513308 w 2334255"/>
                  <a:gd name="connsiteY48" fmla="*/ 133068 h 2317034"/>
                  <a:gd name="connsiteX49" fmla="*/ 815181 w 2334255"/>
                  <a:gd name="connsiteY49" fmla="*/ 434941 h 2317034"/>
                  <a:gd name="connsiteX50" fmla="*/ 858675 w 2334255"/>
                  <a:gd name="connsiteY50" fmla="*/ 411399 h 2317034"/>
                  <a:gd name="connsiteX51" fmla="*/ 932958 w 2334255"/>
                  <a:gd name="connsiteY51" fmla="*/ 384287 h 2317034"/>
                  <a:gd name="connsiteX52" fmla="*/ 940186 w 2334255"/>
                  <a:gd name="connsiteY52" fmla="*/ 382433 h 231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2334255" h="2317034">
                    <a:moveTo>
                      <a:pt x="1173387" y="891273"/>
                    </a:moveTo>
                    <a:cubicBezTo>
                      <a:pt x="1027709" y="891273"/>
                      <a:pt x="909614" y="1009040"/>
                      <a:pt x="909614" y="1154313"/>
                    </a:cubicBezTo>
                    <a:cubicBezTo>
                      <a:pt x="909614" y="1299586"/>
                      <a:pt x="1027709" y="1417353"/>
                      <a:pt x="1173387" y="1417353"/>
                    </a:cubicBezTo>
                    <a:cubicBezTo>
                      <a:pt x="1319065" y="1417353"/>
                      <a:pt x="1437160" y="1299586"/>
                      <a:pt x="1437160" y="1154313"/>
                    </a:cubicBezTo>
                    <a:cubicBezTo>
                      <a:pt x="1437160" y="1009040"/>
                      <a:pt x="1319065" y="891273"/>
                      <a:pt x="1173387" y="891273"/>
                    </a:cubicBezTo>
                    <a:close/>
                    <a:moveTo>
                      <a:pt x="940186" y="0"/>
                    </a:moveTo>
                    <a:lnTo>
                      <a:pt x="1411288" y="0"/>
                    </a:lnTo>
                    <a:lnTo>
                      <a:pt x="1411288" y="383639"/>
                    </a:lnTo>
                    <a:lnTo>
                      <a:pt x="1413816" y="384287"/>
                    </a:lnTo>
                    <a:cubicBezTo>
                      <a:pt x="1439133" y="392139"/>
                      <a:pt x="1463917" y="401199"/>
                      <a:pt x="1488099" y="411399"/>
                    </a:cubicBezTo>
                    <a:lnTo>
                      <a:pt x="1533435" y="435938"/>
                    </a:lnTo>
                    <a:lnTo>
                      <a:pt x="1836305" y="133068"/>
                    </a:lnTo>
                    <a:lnTo>
                      <a:pt x="2199593" y="496356"/>
                    </a:lnTo>
                    <a:lnTo>
                      <a:pt x="1896202" y="799747"/>
                    </a:lnTo>
                    <a:lnTo>
                      <a:pt x="1918370" y="840475"/>
                    </a:lnTo>
                    <a:cubicBezTo>
                      <a:pt x="1928598" y="864590"/>
                      <a:pt x="1937683" y="889305"/>
                      <a:pt x="1945558" y="914552"/>
                    </a:cubicBezTo>
                    <a:lnTo>
                      <a:pt x="1948956" y="927731"/>
                    </a:lnTo>
                    <a:lnTo>
                      <a:pt x="2334255" y="927731"/>
                    </a:lnTo>
                    <a:lnTo>
                      <a:pt x="2334255" y="1383586"/>
                    </a:lnTo>
                    <a:lnTo>
                      <a:pt x="1948262" y="1383586"/>
                    </a:lnTo>
                    <a:lnTo>
                      <a:pt x="1945558" y="1394074"/>
                    </a:lnTo>
                    <a:cubicBezTo>
                      <a:pt x="1937683" y="1419321"/>
                      <a:pt x="1928598" y="1444036"/>
                      <a:pt x="1918370" y="1468152"/>
                    </a:cubicBezTo>
                    <a:lnTo>
                      <a:pt x="1893705" y="1513465"/>
                    </a:lnTo>
                    <a:lnTo>
                      <a:pt x="2199593" y="1819353"/>
                    </a:lnTo>
                    <a:lnTo>
                      <a:pt x="1836305" y="2182641"/>
                    </a:lnTo>
                    <a:lnTo>
                      <a:pt x="1528839" y="1875175"/>
                    </a:lnTo>
                    <a:lnTo>
                      <a:pt x="1488099" y="1897227"/>
                    </a:lnTo>
                    <a:cubicBezTo>
                      <a:pt x="1463917" y="1907427"/>
                      <a:pt x="1439133" y="1916487"/>
                      <a:pt x="1413816" y="1924340"/>
                    </a:cubicBezTo>
                    <a:lnTo>
                      <a:pt x="1411288" y="1924988"/>
                    </a:lnTo>
                    <a:lnTo>
                      <a:pt x="1411288" y="2317034"/>
                    </a:lnTo>
                    <a:lnTo>
                      <a:pt x="940186" y="2317034"/>
                    </a:lnTo>
                    <a:lnTo>
                      <a:pt x="940186" y="1926193"/>
                    </a:lnTo>
                    <a:lnTo>
                      <a:pt x="932958" y="1924340"/>
                    </a:lnTo>
                    <a:cubicBezTo>
                      <a:pt x="907641" y="1916487"/>
                      <a:pt x="882857" y="1907427"/>
                      <a:pt x="858675" y="1897227"/>
                    </a:cubicBezTo>
                    <a:lnTo>
                      <a:pt x="819777" y="1876172"/>
                    </a:lnTo>
                    <a:lnTo>
                      <a:pt x="513308" y="2182641"/>
                    </a:lnTo>
                    <a:lnTo>
                      <a:pt x="150020" y="1819353"/>
                    </a:lnTo>
                    <a:lnTo>
                      <a:pt x="454069" y="1515304"/>
                    </a:lnTo>
                    <a:lnTo>
                      <a:pt x="428404" y="1468152"/>
                    </a:lnTo>
                    <a:cubicBezTo>
                      <a:pt x="418176" y="1444036"/>
                      <a:pt x="409091" y="1419321"/>
                      <a:pt x="401216" y="1394074"/>
                    </a:cubicBezTo>
                    <a:lnTo>
                      <a:pt x="398512" y="1383586"/>
                    </a:lnTo>
                    <a:lnTo>
                      <a:pt x="0" y="1383586"/>
                    </a:lnTo>
                    <a:lnTo>
                      <a:pt x="0" y="927731"/>
                    </a:lnTo>
                    <a:lnTo>
                      <a:pt x="397818" y="927731"/>
                    </a:lnTo>
                    <a:lnTo>
                      <a:pt x="401216" y="914552"/>
                    </a:lnTo>
                    <a:cubicBezTo>
                      <a:pt x="409091" y="889305"/>
                      <a:pt x="418176" y="864590"/>
                      <a:pt x="428404" y="840475"/>
                    </a:cubicBezTo>
                    <a:lnTo>
                      <a:pt x="451573" y="797909"/>
                    </a:lnTo>
                    <a:lnTo>
                      <a:pt x="150020" y="496356"/>
                    </a:lnTo>
                    <a:lnTo>
                      <a:pt x="513308" y="133068"/>
                    </a:lnTo>
                    <a:lnTo>
                      <a:pt x="815181" y="434941"/>
                    </a:lnTo>
                    <a:lnTo>
                      <a:pt x="858675" y="411399"/>
                    </a:lnTo>
                    <a:cubicBezTo>
                      <a:pt x="882857" y="401199"/>
                      <a:pt x="907641" y="392139"/>
                      <a:pt x="932958" y="384287"/>
                    </a:cubicBezTo>
                    <a:lnTo>
                      <a:pt x="940186" y="382433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3" name="Rectangle 20"/>
              <p:cNvSpPr/>
              <p:nvPr/>
            </p:nvSpPr>
            <p:spPr>
              <a:xfrm>
                <a:off x="1895856" y="3077426"/>
                <a:ext cx="253942" cy="125142"/>
              </a:xfrm>
              <a:custGeom>
                <a:avLst/>
                <a:gdLst>
                  <a:gd name="connsiteX0" fmla="*/ 0 w 1252728"/>
                  <a:gd name="connsiteY0" fmla="*/ 0 h 2104287"/>
                  <a:gd name="connsiteX1" fmla="*/ 1252728 w 1252728"/>
                  <a:gd name="connsiteY1" fmla="*/ 0 h 2104287"/>
                  <a:gd name="connsiteX2" fmla="*/ 1252728 w 1252728"/>
                  <a:gd name="connsiteY2" fmla="*/ 2104287 h 2104287"/>
                  <a:gd name="connsiteX3" fmla="*/ 0 w 1252728"/>
                  <a:gd name="connsiteY3" fmla="*/ 2104287 h 2104287"/>
                  <a:gd name="connsiteX4" fmla="*/ 0 w 1252728"/>
                  <a:gd name="connsiteY4" fmla="*/ 0 h 2104287"/>
                  <a:gd name="connsiteX0" fmla="*/ 495300 w 1748028"/>
                  <a:gd name="connsiteY0" fmla="*/ 0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495300 w 1748028"/>
                  <a:gd name="connsiteY4" fmla="*/ 0 h 2104287"/>
                  <a:gd name="connsiteX0" fmla="*/ 1104900 w 1748028"/>
                  <a:gd name="connsiteY0" fmla="*/ 433387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1104900 w 1748028"/>
                  <a:gd name="connsiteY4" fmla="*/ 433387 h 2104287"/>
                  <a:gd name="connsiteX0" fmla="*/ 1104900 w 1748028"/>
                  <a:gd name="connsiteY0" fmla="*/ 433387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634353 w 1748028"/>
                  <a:gd name="connsiteY4" fmla="*/ 747713 h 2104287"/>
                  <a:gd name="connsiteX5" fmla="*/ 1104900 w 1748028"/>
                  <a:gd name="connsiteY5" fmla="*/ 433387 h 2104287"/>
                  <a:gd name="connsiteX0" fmla="*/ 1185120 w 1828248"/>
                  <a:gd name="connsiteY0" fmla="*/ 614362 h 2285262"/>
                  <a:gd name="connsiteX1" fmla="*/ 1828248 w 1828248"/>
                  <a:gd name="connsiteY1" fmla="*/ 180975 h 2285262"/>
                  <a:gd name="connsiteX2" fmla="*/ 1828248 w 1828248"/>
                  <a:gd name="connsiteY2" fmla="*/ 2285262 h 2285262"/>
                  <a:gd name="connsiteX3" fmla="*/ 80220 w 1828248"/>
                  <a:gd name="connsiteY3" fmla="*/ 1347049 h 2285262"/>
                  <a:gd name="connsiteX4" fmla="*/ 714573 w 1828248"/>
                  <a:gd name="connsiteY4" fmla="*/ 928688 h 2285262"/>
                  <a:gd name="connsiteX5" fmla="*/ 9723 w 1828248"/>
                  <a:gd name="connsiteY5" fmla="*/ 0 h 2285262"/>
                  <a:gd name="connsiteX6" fmla="*/ 1185120 w 1828248"/>
                  <a:gd name="connsiteY6" fmla="*/ 614362 h 2285262"/>
                  <a:gd name="connsiteX0" fmla="*/ 4850329 w 5493457"/>
                  <a:gd name="connsiteY0" fmla="*/ 433387 h 2104287"/>
                  <a:gd name="connsiteX1" fmla="*/ 5493457 w 5493457"/>
                  <a:gd name="connsiteY1" fmla="*/ 0 h 2104287"/>
                  <a:gd name="connsiteX2" fmla="*/ 5493457 w 5493457"/>
                  <a:gd name="connsiteY2" fmla="*/ 2104287 h 2104287"/>
                  <a:gd name="connsiteX3" fmla="*/ 3745429 w 5493457"/>
                  <a:gd name="connsiteY3" fmla="*/ 1166074 h 2104287"/>
                  <a:gd name="connsiteX4" fmla="*/ 4379782 w 5493457"/>
                  <a:gd name="connsiteY4" fmla="*/ 747713 h 2104287"/>
                  <a:gd name="connsiteX5" fmla="*/ 2092 w 5493457"/>
                  <a:gd name="connsiteY5" fmla="*/ 1396365 h 2104287"/>
                  <a:gd name="connsiteX6" fmla="*/ 4850329 w 5493457"/>
                  <a:gd name="connsiteY6" fmla="*/ 433387 h 2104287"/>
                  <a:gd name="connsiteX0" fmla="*/ 5202289 w 5845417"/>
                  <a:gd name="connsiteY0" fmla="*/ 433387 h 2104287"/>
                  <a:gd name="connsiteX1" fmla="*/ 5845417 w 5845417"/>
                  <a:gd name="connsiteY1" fmla="*/ 0 h 2104287"/>
                  <a:gd name="connsiteX2" fmla="*/ 5845417 w 5845417"/>
                  <a:gd name="connsiteY2" fmla="*/ 2104287 h 2104287"/>
                  <a:gd name="connsiteX3" fmla="*/ 4097389 w 5845417"/>
                  <a:gd name="connsiteY3" fmla="*/ 1166074 h 2104287"/>
                  <a:gd name="connsiteX4" fmla="*/ 4731742 w 5845417"/>
                  <a:gd name="connsiteY4" fmla="*/ 747713 h 2104287"/>
                  <a:gd name="connsiteX5" fmla="*/ 855068 w 5845417"/>
                  <a:gd name="connsiteY5" fmla="*/ 1619250 h 2104287"/>
                  <a:gd name="connsiteX6" fmla="*/ 354052 w 5845417"/>
                  <a:gd name="connsiteY6" fmla="*/ 1396365 h 2104287"/>
                  <a:gd name="connsiteX7" fmla="*/ 5202289 w 5845417"/>
                  <a:gd name="connsiteY7" fmla="*/ 433387 h 2104287"/>
                  <a:gd name="connsiteX0" fmla="*/ 5202289 w 5845417"/>
                  <a:gd name="connsiteY0" fmla="*/ 433387 h 2104287"/>
                  <a:gd name="connsiteX1" fmla="*/ 5845417 w 5845417"/>
                  <a:gd name="connsiteY1" fmla="*/ 0 h 2104287"/>
                  <a:gd name="connsiteX2" fmla="*/ 5845417 w 5845417"/>
                  <a:gd name="connsiteY2" fmla="*/ 2104287 h 2104287"/>
                  <a:gd name="connsiteX3" fmla="*/ 4097389 w 5845417"/>
                  <a:gd name="connsiteY3" fmla="*/ 1166074 h 2104287"/>
                  <a:gd name="connsiteX4" fmla="*/ 4731742 w 5845417"/>
                  <a:gd name="connsiteY4" fmla="*/ 747713 h 2104287"/>
                  <a:gd name="connsiteX5" fmla="*/ 855068 w 5845417"/>
                  <a:gd name="connsiteY5" fmla="*/ 1619250 h 2104287"/>
                  <a:gd name="connsiteX6" fmla="*/ 354052 w 5845417"/>
                  <a:gd name="connsiteY6" fmla="*/ 1396365 h 2104287"/>
                  <a:gd name="connsiteX7" fmla="*/ 5202289 w 5845417"/>
                  <a:gd name="connsiteY7" fmla="*/ 433387 h 2104287"/>
                  <a:gd name="connsiteX0" fmla="*/ 5202289 w 5845417"/>
                  <a:gd name="connsiteY0" fmla="*/ 1017185 h 2688085"/>
                  <a:gd name="connsiteX1" fmla="*/ 5845417 w 5845417"/>
                  <a:gd name="connsiteY1" fmla="*/ 583798 h 2688085"/>
                  <a:gd name="connsiteX2" fmla="*/ 5845417 w 5845417"/>
                  <a:gd name="connsiteY2" fmla="*/ 2688085 h 2688085"/>
                  <a:gd name="connsiteX3" fmla="*/ 4097389 w 5845417"/>
                  <a:gd name="connsiteY3" fmla="*/ 1749872 h 2688085"/>
                  <a:gd name="connsiteX4" fmla="*/ 4731742 w 5845417"/>
                  <a:gd name="connsiteY4" fmla="*/ 1331511 h 2688085"/>
                  <a:gd name="connsiteX5" fmla="*/ 855068 w 5845417"/>
                  <a:gd name="connsiteY5" fmla="*/ 2203048 h 2688085"/>
                  <a:gd name="connsiteX6" fmla="*/ 354052 w 5845417"/>
                  <a:gd name="connsiteY6" fmla="*/ 1980163 h 2688085"/>
                  <a:gd name="connsiteX7" fmla="*/ 5202289 w 5845417"/>
                  <a:gd name="connsiteY7" fmla="*/ 1017185 h 2688085"/>
                  <a:gd name="connsiteX0" fmla="*/ 5202289 w 5845417"/>
                  <a:gd name="connsiteY0" fmla="*/ 1027039 h 2697939"/>
                  <a:gd name="connsiteX1" fmla="*/ 5845417 w 5845417"/>
                  <a:gd name="connsiteY1" fmla="*/ 593652 h 2697939"/>
                  <a:gd name="connsiteX2" fmla="*/ 5845417 w 5845417"/>
                  <a:gd name="connsiteY2" fmla="*/ 2697939 h 2697939"/>
                  <a:gd name="connsiteX3" fmla="*/ 4097389 w 5845417"/>
                  <a:gd name="connsiteY3" fmla="*/ 1759726 h 2697939"/>
                  <a:gd name="connsiteX4" fmla="*/ 4731742 w 5845417"/>
                  <a:gd name="connsiteY4" fmla="*/ 1341365 h 2697939"/>
                  <a:gd name="connsiteX5" fmla="*/ 855068 w 5845417"/>
                  <a:gd name="connsiteY5" fmla="*/ 2212902 h 2697939"/>
                  <a:gd name="connsiteX6" fmla="*/ 354052 w 5845417"/>
                  <a:gd name="connsiteY6" fmla="*/ 1990017 h 2697939"/>
                  <a:gd name="connsiteX7" fmla="*/ 5202289 w 5845417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478156 w 5491365"/>
                  <a:gd name="connsiteY5" fmla="*/ 222052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478156 w 5491365"/>
                  <a:gd name="connsiteY5" fmla="*/ 222052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3149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0617 w 5491365"/>
                  <a:gd name="connsiteY0" fmla="*/ 1024336 h 2702856"/>
                  <a:gd name="connsiteX1" fmla="*/ 5491365 w 5491365"/>
                  <a:gd name="connsiteY1" fmla="*/ 598569 h 2702856"/>
                  <a:gd name="connsiteX2" fmla="*/ 5491365 w 5491365"/>
                  <a:gd name="connsiteY2" fmla="*/ 2702856 h 2702856"/>
                  <a:gd name="connsiteX3" fmla="*/ 3743337 w 5491365"/>
                  <a:gd name="connsiteY3" fmla="*/ 1764643 h 2702856"/>
                  <a:gd name="connsiteX4" fmla="*/ 4377690 w 5491365"/>
                  <a:gd name="connsiteY4" fmla="*/ 1346282 h 2702856"/>
                  <a:gd name="connsiteX5" fmla="*/ 531496 w 5491365"/>
                  <a:gd name="connsiteY5" fmla="*/ 2240679 h 2702856"/>
                  <a:gd name="connsiteX6" fmla="*/ 0 w 5491365"/>
                  <a:gd name="connsiteY6" fmla="*/ 1994934 h 2702856"/>
                  <a:gd name="connsiteX7" fmla="*/ 4840617 w 5491365"/>
                  <a:gd name="connsiteY7" fmla="*/ 1024336 h 2702856"/>
                  <a:gd name="connsiteX0" fmla="*/ 4840617 w 5491365"/>
                  <a:gd name="connsiteY0" fmla="*/ 1027625 h 2706145"/>
                  <a:gd name="connsiteX1" fmla="*/ 5491365 w 5491365"/>
                  <a:gd name="connsiteY1" fmla="*/ 601858 h 2706145"/>
                  <a:gd name="connsiteX2" fmla="*/ 5491365 w 5491365"/>
                  <a:gd name="connsiteY2" fmla="*/ 2706145 h 2706145"/>
                  <a:gd name="connsiteX3" fmla="*/ 3743337 w 5491365"/>
                  <a:gd name="connsiteY3" fmla="*/ 1767932 h 2706145"/>
                  <a:gd name="connsiteX4" fmla="*/ 4377690 w 5491365"/>
                  <a:gd name="connsiteY4" fmla="*/ 1349571 h 2706145"/>
                  <a:gd name="connsiteX5" fmla="*/ 531496 w 5491365"/>
                  <a:gd name="connsiteY5" fmla="*/ 2243968 h 2706145"/>
                  <a:gd name="connsiteX6" fmla="*/ 0 w 5491365"/>
                  <a:gd name="connsiteY6" fmla="*/ 1998223 h 2706145"/>
                  <a:gd name="connsiteX7" fmla="*/ 4840617 w 5491365"/>
                  <a:gd name="connsiteY7" fmla="*/ 1027625 h 2706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91365" h="2706145">
                    <a:moveTo>
                      <a:pt x="4840617" y="1027625"/>
                    </a:moveTo>
                    <a:lnTo>
                      <a:pt x="5491365" y="601858"/>
                    </a:lnTo>
                    <a:lnTo>
                      <a:pt x="5491365" y="2706145"/>
                    </a:lnTo>
                    <a:lnTo>
                      <a:pt x="3743337" y="1767932"/>
                    </a:lnTo>
                    <a:lnTo>
                      <a:pt x="4377690" y="1349571"/>
                    </a:lnTo>
                    <a:cubicBezTo>
                      <a:pt x="2901313" y="-269080"/>
                      <a:pt x="742951" y="909039"/>
                      <a:pt x="531496" y="2243968"/>
                    </a:cubicBezTo>
                    <a:cubicBezTo>
                      <a:pt x="175261" y="2085377"/>
                      <a:pt x="183513" y="2094267"/>
                      <a:pt x="0" y="1998223"/>
                    </a:cubicBezTo>
                    <a:cubicBezTo>
                      <a:pt x="785499" y="-128710"/>
                      <a:pt x="3255018" y="-724022"/>
                      <a:pt x="4840617" y="1027625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4" name="Rectangle 20"/>
              <p:cNvSpPr/>
              <p:nvPr/>
            </p:nvSpPr>
            <p:spPr>
              <a:xfrm flipH="1" flipV="1">
                <a:off x="1891158" y="3212504"/>
                <a:ext cx="253942" cy="125142"/>
              </a:xfrm>
              <a:custGeom>
                <a:avLst/>
                <a:gdLst>
                  <a:gd name="connsiteX0" fmla="*/ 0 w 1252728"/>
                  <a:gd name="connsiteY0" fmla="*/ 0 h 2104287"/>
                  <a:gd name="connsiteX1" fmla="*/ 1252728 w 1252728"/>
                  <a:gd name="connsiteY1" fmla="*/ 0 h 2104287"/>
                  <a:gd name="connsiteX2" fmla="*/ 1252728 w 1252728"/>
                  <a:gd name="connsiteY2" fmla="*/ 2104287 h 2104287"/>
                  <a:gd name="connsiteX3" fmla="*/ 0 w 1252728"/>
                  <a:gd name="connsiteY3" fmla="*/ 2104287 h 2104287"/>
                  <a:gd name="connsiteX4" fmla="*/ 0 w 1252728"/>
                  <a:gd name="connsiteY4" fmla="*/ 0 h 2104287"/>
                  <a:gd name="connsiteX0" fmla="*/ 495300 w 1748028"/>
                  <a:gd name="connsiteY0" fmla="*/ 0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495300 w 1748028"/>
                  <a:gd name="connsiteY4" fmla="*/ 0 h 2104287"/>
                  <a:gd name="connsiteX0" fmla="*/ 1104900 w 1748028"/>
                  <a:gd name="connsiteY0" fmla="*/ 433387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1104900 w 1748028"/>
                  <a:gd name="connsiteY4" fmla="*/ 433387 h 2104287"/>
                  <a:gd name="connsiteX0" fmla="*/ 1104900 w 1748028"/>
                  <a:gd name="connsiteY0" fmla="*/ 433387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634353 w 1748028"/>
                  <a:gd name="connsiteY4" fmla="*/ 747713 h 2104287"/>
                  <a:gd name="connsiteX5" fmla="*/ 1104900 w 1748028"/>
                  <a:gd name="connsiteY5" fmla="*/ 433387 h 2104287"/>
                  <a:gd name="connsiteX0" fmla="*/ 1185120 w 1828248"/>
                  <a:gd name="connsiteY0" fmla="*/ 614362 h 2285262"/>
                  <a:gd name="connsiteX1" fmla="*/ 1828248 w 1828248"/>
                  <a:gd name="connsiteY1" fmla="*/ 180975 h 2285262"/>
                  <a:gd name="connsiteX2" fmla="*/ 1828248 w 1828248"/>
                  <a:gd name="connsiteY2" fmla="*/ 2285262 h 2285262"/>
                  <a:gd name="connsiteX3" fmla="*/ 80220 w 1828248"/>
                  <a:gd name="connsiteY3" fmla="*/ 1347049 h 2285262"/>
                  <a:gd name="connsiteX4" fmla="*/ 714573 w 1828248"/>
                  <a:gd name="connsiteY4" fmla="*/ 928688 h 2285262"/>
                  <a:gd name="connsiteX5" fmla="*/ 9723 w 1828248"/>
                  <a:gd name="connsiteY5" fmla="*/ 0 h 2285262"/>
                  <a:gd name="connsiteX6" fmla="*/ 1185120 w 1828248"/>
                  <a:gd name="connsiteY6" fmla="*/ 614362 h 2285262"/>
                  <a:gd name="connsiteX0" fmla="*/ 4850329 w 5493457"/>
                  <a:gd name="connsiteY0" fmla="*/ 433387 h 2104287"/>
                  <a:gd name="connsiteX1" fmla="*/ 5493457 w 5493457"/>
                  <a:gd name="connsiteY1" fmla="*/ 0 h 2104287"/>
                  <a:gd name="connsiteX2" fmla="*/ 5493457 w 5493457"/>
                  <a:gd name="connsiteY2" fmla="*/ 2104287 h 2104287"/>
                  <a:gd name="connsiteX3" fmla="*/ 3745429 w 5493457"/>
                  <a:gd name="connsiteY3" fmla="*/ 1166074 h 2104287"/>
                  <a:gd name="connsiteX4" fmla="*/ 4379782 w 5493457"/>
                  <a:gd name="connsiteY4" fmla="*/ 747713 h 2104287"/>
                  <a:gd name="connsiteX5" fmla="*/ 2092 w 5493457"/>
                  <a:gd name="connsiteY5" fmla="*/ 1396365 h 2104287"/>
                  <a:gd name="connsiteX6" fmla="*/ 4850329 w 5493457"/>
                  <a:gd name="connsiteY6" fmla="*/ 433387 h 2104287"/>
                  <a:gd name="connsiteX0" fmla="*/ 5202289 w 5845417"/>
                  <a:gd name="connsiteY0" fmla="*/ 433387 h 2104287"/>
                  <a:gd name="connsiteX1" fmla="*/ 5845417 w 5845417"/>
                  <a:gd name="connsiteY1" fmla="*/ 0 h 2104287"/>
                  <a:gd name="connsiteX2" fmla="*/ 5845417 w 5845417"/>
                  <a:gd name="connsiteY2" fmla="*/ 2104287 h 2104287"/>
                  <a:gd name="connsiteX3" fmla="*/ 4097389 w 5845417"/>
                  <a:gd name="connsiteY3" fmla="*/ 1166074 h 2104287"/>
                  <a:gd name="connsiteX4" fmla="*/ 4731742 w 5845417"/>
                  <a:gd name="connsiteY4" fmla="*/ 747713 h 2104287"/>
                  <a:gd name="connsiteX5" fmla="*/ 855068 w 5845417"/>
                  <a:gd name="connsiteY5" fmla="*/ 1619250 h 2104287"/>
                  <a:gd name="connsiteX6" fmla="*/ 354052 w 5845417"/>
                  <a:gd name="connsiteY6" fmla="*/ 1396365 h 2104287"/>
                  <a:gd name="connsiteX7" fmla="*/ 5202289 w 5845417"/>
                  <a:gd name="connsiteY7" fmla="*/ 433387 h 2104287"/>
                  <a:gd name="connsiteX0" fmla="*/ 5202289 w 5845417"/>
                  <a:gd name="connsiteY0" fmla="*/ 433387 h 2104287"/>
                  <a:gd name="connsiteX1" fmla="*/ 5845417 w 5845417"/>
                  <a:gd name="connsiteY1" fmla="*/ 0 h 2104287"/>
                  <a:gd name="connsiteX2" fmla="*/ 5845417 w 5845417"/>
                  <a:gd name="connsiteY2" fmla="*/ 2104287 h 2104287"/>
                  <a:gd name="connsiteX3" fmla="*/ 4097389 w 5845417"/>
                  <a:gd name="connsiteY3" fmla="*/ 1166074 h 2104287"/>
                  <a:gd name="connsiteX4" fmla="*/ 4731742 w 5845417"/>
                  <a:gd name="connsiteY4" fmla="*/ 747713 h 2104287"/>
                  <a:gd name="connsiteX5" fmla="*/ 855068 w 5845417"/>
                  <a:gd name="connsiteY5" fmla="*/ 1619250 h 2104287"/>
                  <a:gd name="connsiteX6" fmla="*/ 354052 w 5845417"/>
                  <a:gd name="connsiteY6" fmla="*/ 1396365 h 2104287"/>
                  <a:gd name="connsiteX7" fmla="*/ 5202289 w 5845417"/>
                  <a:gd name="connsiteY7" fmla="*/ 433387 h 2104287"/>
                  <a:gd name="connsiteX0" fmla="*/ 5202289 w 5845417"/>
                  <a:gd name="connsiteY0" fmla="*/ 1017185 h 2688085"/>
                  <a:gd name="connsiteX1" fmla="*/ 5845417 w 5845417"/>
                  <a:gd name="connsiteY1" fmla="*/ 583798 h 2688085"/>
                  <a:gd name="connsiteX2" fmla="*/ 5845417 w 5845417"/>
                  <a:gd name="connsiteY2" fmla="*/ 2688085 h 2688085"/>
                  <a:gd name="connsiteX3" fmla="*/ 4097389 w 5845417"/>
                  <a:gd name="connsiteY3" fmla="*/ 1749872 h 2688085"/>
                  <a:gd name="connsiteX4" fmla="*/ 4731742 w 5845417"/>
                  <a:gd name="connsiteY4" fmla="*/ 1331511 h 2688085"/>
                  <a:gd name="connsiteX5" fmla="*/ 855068 w 5845417"/>
                  <a:gd name="connsiteY5" fmla="*/ 2203048 h 2688085"/>
                  <a:gd name="connsiteX6" fmla="*/ 354052 w 5845417"/>
                  <a:gd name="connsiteY6" fmla="*/ 1980163 h 2688085"/>
                  <a:gd name="connsiteX7" fmla="*/ 5202289 w 5845417"/>
                  <a:gd name="connsiteY7" fmla="*/ 1017185 h 2688085"/>
                  <a:gd name="connsiteX0" fmla="*/ 5202289 w 5845417"/>
                  <a:gd name="connsiteY0" fmla="*/ 1027039 h 2697939"/>
                  <a:gd name="connsiteX1" fmla="*/ 5845417 w 5845417"/>
                  <a:gd name="connsiteY1" fmla="*/ 593652 h 2697939"/>
                  <a:gd name="connsiteX2" fmla="*/ 5845417 w 5845417"/>
                  <a:gd name="connsiteY2" fmla="*/ 2697939 h 2697939"/>
                  <a:gd name="connsiteX3" fmla="*/ 4097389 w 5845417"/>
                  <a:gd name="connsiteY3" fmla="*/ 1759726 h 2697939"/>
                  <a:gd name="connsiteX4" fmla="*/ 4731742 w 5845417"/>
                  <a:gd name="connsiteY4" fmla="*/ 1341365 h 2697939"/>
                  <a:gd name="connsiteX5" fmla="*/ 855068 w 5845417"/>
                  <a:gd name="connsiteY5" fmla="*/ 2212902 h 2697939"/>
                  <a:gd name="connsiteX6" fmla="*/ 354052 w 5845417"/>
                  <a:gd name="connsiteY6" fmla="*/ 1990017 h 2697939"/>
                  <a:gd name="connsiteX7" fmla="*/ 5202289 w 5845417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478156 w 5491365"/>
                  <a:gd name="connsiteY5" fmla="*/ 222052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478156 w 5491365"/>
                  <a:gd name="connsiteY5" fmla="*/ 222052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3149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0617 w 5491365"/>
                  <a:gd name="connsiteY0" fmla="*/ 1024336 h 2702856"/>
                  <a:gd name="connsiteX1" fmla="*/ 5491365 w 5491365"/>
                  <a:gd name="connsiteY1" fmla="*/ 598569 h 2702856"/>
                  <a:gd name="connsiteX2" fmla="*/ 5491365 w 5491365"/>
                  <a:gd name="connsiteY2" fmla="*/ 2702856 h 2702856"/>
                  <a:gd name="connsiteX3" fmla="*/ 3743337 w 5491365"/>
                  <a:gd name="connsiteY3" fmla="*/ 1764643 h 2702856"/>
                  <a:gd name="connsiteX4" fmla="*/ 4377690 w 5491365"/>
                  <a:gd name="connsiteY4" fmla="*/ 1346282 h 2702856"/>
                  <a:gd name="connsiteX5" fmla="*/ 531496 w 5491365"/>
                  <a:gd name="connsiteY5" fmla="*/ 2240679 h 2702856"/>
                  <a:gd name="connsiteX6" fmla="*/ 0 w 5491365"/>
                  <a:gd name="connsiteY6" fmla="*/ 1994934 h 2702856"/>
                  <a:gd name="connsiteX7" fmla="*/ 4840617 w 5491365"/>
                  <a:gd name="connsiteY7" fmla="*/ 1024336 h 2702856"/>
                  <a:gd name="connsiteX0" fmla="*/ 4840617 w 5491365"/>
                  <a:gd name="connsiteY0" fmla="*/ 1027625 h 2706145"/>
                  <a:gd name="connsiteX1" fmla="*/ 5491365 w 5491365"/>
                  <a:gd name="connsiteY1" fmla="*/ 601858 h 2706145"/>
                  <a:gd name="connsiteX2" fmla="*/ 5491365 w 5491365"/>
                  <a:gd name="connsiteY2" fmla="*/ 2706145 h 2706145"/>
                  <a:gd name="connsiteX3" fmla="*/ 3743337 w 5491365"/>
                  <a:gd name="connsiteY3" fmla="*/ 1767932 h 2706145"/>
                  <a:gd name="connsiteX4" fmla="*/ 4377690 w 5491365"/>
                  <a:gd name="connsiteY4" fmla="*/ 1349571 h 2706145"/>
                  <a:gd name="connsiteX5" fmla="*/ 531496 w 5491365"/>
                  <a:gd name="connsiteY5" fmla="*/ 2243968 h 2706145"/>
                  <a:gd name="connsiteX6" fmla="*/ 0 w 5491365"/>
                  <a:gd name="connsiteY6" fmla="*/ 1998223 h 2706145"/>
                  <a:gd name="connsiteX7" fmla="*/ 4840617 w 5491365"/>
                  <a:gd name="connsiteY7" fmla="*/ 1027625 h 2706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91365" h="2706145">
                    <a:moveTo>
                      <a:pt x="4840617" y="1027625"/>
                    </a:moveTo>
                    <a:lnTo>
                      <a:pt x="5491365" y="601858"/>
                    </a:lnTo>
                    <a:lnTo>
                      <a:pt x="5491365" y="2706145"/>
                    </a:lnTo>
                    <a:lnTo>
                      <a:pt x="3743337" y="1767932"/>
                    </a:lnTo>
                    <a:lnTo>
                      <a:pt x="4377690" y="1349571"/>
                    </a:lnTo>
                    <a:cubicBezTo>
                      <a:pt x="2901313" y="-269080"/>
                      <a:pt x="742951" y="909039"/>
                      <a:pt x="531496" y="2243968"/>
                    </a:cubicBezTo>
                    <a:cubicBezTo>
                      <a:pt x="175261" y="2085377"/>
                      <a:pt x="183513" y="2094267"/>
                      <a:pt x="0" y="1998223"/>
                    </a:cubicBezTo>
                    <a:cubicBezTo>
                      <a:pt x="785499" y="-128710"/>
                      <a:pt x="3255018" y="-724022"/>
                      <a:pt x="4840617" y="1027625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5" name="Group 154"/>
            <p:cNvGrpSpPr/>
            <p:nvPr/>
          </p:nvGrpSpPr>
          <p:grpSpPr>
            <a:xfrm>
              <a:off x="2710571" y="2849573"/>
              <a:ext cx="722376" cy="722376"/>
              <a:chOff x="6144199" y="4724923"/>
              <a:chExt cx="590937" cy="593130"/>
            </a:xfrm>
          </p:grpSpPr>
          <p:sp>
            <p:nvSpPr>
              <p:cNvPr id="156" name="Freeform 155"/>
              <p:cNvSpPr/>
              <p:nvPr/>
            </p:nvSpPr>
            <p:spPr>
              <a:xfrm>
                <a:off x="6144199" y="4724923"/>
                <a:ext cx="590937" cy="593130"/>
              </a:xfrm>
              <a:custGeom>
                <a:avLst/>
                <a:gdLst>
                  <a:gd name="connsiteX0" fmla="*/ 650734 w 1328932"/>
                  <a:gd name="connsiteY0" fmla="*/ 0 h 1333866"/>
                  <a:gd name="connsiteX1" fmla="*/ 673812 w 1328932"/>
                  <a:gd name="connsiteY1" fmla="*/ 79029 h 1333866"/>
                  <a:gd name="connsiteX2" fmla="*/ 737265 w 1328932"/>
                  <a:gd name="connsiteY2" fmla="*/ 83600 h 1333866"/>
                  <a:gd name="connsiteX3" fmla="*/ 773421 w 1328932"/>
                  <a:gd name="connsiteY3" fmla="*/ 6872 h 1333866"/>
                  <a:gd name="connsiteX4" fmla="*/ 827889 w 1328932"/>
                  <a:gd name="connsiteY4" fmla="*/ 18371 h 1333866"/>
                  <a:gd name="connsiteX5" fmla="*/ 829920 w 1328932"/>
                  <a:gd name="connsiteY5" fmla="*/ 102056 h 1333866"/>
                  <a:gd name="connsiteX6" fmla="*/ 831348 w 1328932"/>
                  <a:gd name="connsiteY6" fmla="*/ 102369 h 1333866"/>
                  <a:gd name="connsiteX7" fmla="*/ 889394 w 1328932"/>
                  <a:gd name="connsiteY7" fmla="*/ 124065 h 1333866"/>
                  <a:gd name="connsiteX8" fmla="*/ 946313 w 1328932"/>
                  <a:gd name="connsiteY8" fmla="*/ 59656 h 1333866"/>
                  <a:gd name="connsiteX9" fmla="*/ 995394 w 1328932"/>
                  <a:gd name="connsiteY9" fmla="*/ 85925 h 1333866"/>
                  <a:gd name="connsiteX10" fmla="*/ 973958 w 1328932"/>
                  <a:gd name="connsiteY10" fmla="*/ 166793 h 1333866"/>
                  <a:gd name="connsiteX11" fmla="*/ 979500 w 1328932"/>
                  <a:gd name="connsiteY11" fmla="*/ 169802 h 1333866"/>
                  <a:gd name="connsiteX12" fmla="*/ 1029879 w 1328932"/>
                  <a:gd name="connsiteY12" fmla="*/ 205872 h 1333866"/>
                  <a:gd name="connsiteX13" fmla="*/ 1101640 w 1328932"/>
                  <a:gd name="connsiteY13" fmla="*/ 160568 h 1333866"/>
                  <a:gd name="connsiteX14" fmla="*/ 1141398 w 1328932"/>
                  <a:gd name="connsiteY14" fmla="*/ 199536 h 1333866"/>
                  <a:gd name="connsiteX15" fmla="*/ 1098344 w 1328932"/>
                  <a:gd name="connsiteY15" fmla="*/ 270865 h 1333866"/>
                  <a:gd name="connsiteX16" fmla="*/ 1122993 w 1328932"/>
                  <a:gd name="connsiteY16" fmla="*/ 298349 h 1333866"/>
                  <a:gd name="connsiteX17" fmla="*/ 1143724 w 1328932"/>
                  <a:gd name="connsiteY17" fmla="*/ 328433 h 1333866"/>
                  <a:gd name="connsiteX18" fmla="*/ 1223600 w 1328932"/>
                  <a:gd name="connsiteY18" fmla="*/ 305308 h 1333866"/>
                  <a:gd name="connsiteX19" fmla="*/ 1250976 w 1328932"/>
                  <a:gd name="connsiteY19" fmla="*/ 353781 h 1333866"/>
                  <a:gd name="connsiteX20" fmla="*/ 1191329 w 1328932"/>
                  <a:gd name="connsiteY20" fmla="*/ 408950 h 1333866"/>
                  <a:gd name="connsiteX21" fmla="*/ 1210078 w 1328932"/>
                  <a:gd name="connsiteY21" fmla="*/ 447173 h 1333866"/>
                  <a:gd name="connsiteX22" fmla="*/ 1215570 w 1328932"/>
                  <a:gd name="connsiteY22" fmla="*/ 462927 h 1333866"/>
                  <a:gd name="connsiteX23" fmla="*/ 1297622 w 1328932"/>
                  <a:gd name="connsiteY23" fmla="*/ 459842 h 1333866"/>
                  <a:gd name="connsiteX24" fmla="*/ 1312464 w 1328932"/>
                  <a:gd name="connsiteY24" fmla="*/ 513497 h 1333866"/>
                  <a:gd name="connsiteX25" fmla="*/ 1241172 w 1328932"/>
                  <a:gd name="connsiteY25" fmla="*/ 552647 h 1333866"/>
                  <a:gd name="connsiteX26" fmla="*/ 1249127 w 1328932"/>
                  <a:gd name="connsiteY26" fmla="*/ 605882 h 1333866"/>
                  <a:gd name="connsiteX27" fmla="*/ 1250047 w 1328932"/>
                  <a:gd name="connsiteY27" fmla="*/ 624091 h 1333866"/>
                  <a:gd name="connsiteX28" fmla="*/ 1328932 w 1328932"/>
                  <a:gd name="connsiteY28" fmla="*/ 642753 h 1333866"/>
                  <a:gd name="connsiteX29" fmla="*/ 1328932 w 1328932"/>
                  <a:gd name="connsiteY29" fmla="*/ 698423 h 1333866"/>
                  <a:gd name="connsiteX30" fmla="*/ 1249387 w 1328932"/>
                  <a:gd name="connsiteY30" fmla="*/ 717241 h 1333866"/>
                  <a:gd name="connsiteX31" fmla="*/ 1248684 w 1328932"/>
                  <a:gd name="connsiteY31" fmla="*/ 730252 h 1333866"/>
                  <a:gd name="connsiteX32" fmla="*/ 1241256 w 1328932"/>
                  <a:gd name="connsiteY32" fmla="*/ 775655 h 1333866"/>
                  <a:gd name="connsiteX33" fmla="*/ 1313610 w 1328932"/>
                  <a:gd name="connsiteY33" fmla="*/ 816722 h 1333866"/>
                  <a:gd name="connsiteX34" fmla="*/ 1298015 w 1328932"/>
                  <a:gd name="connsiteY34" fmla="*/ 870162 h 1333866"/>
                  <a:gd name="connsiteX35" fmla="*/ 1216626 w 1328932"/>
                  <a:gd name="connsiteY35" fmla="*/ 865957 h 1333866"/>
                  <a:gd name="connsiteX36" fmla="*/ 1199435 w 1328932"/>
                  <a:gd name="connsiteY36" fmla="*/ 909582 h 1333866"/>
                  <a:gd name="connsiteX37" fmla="*/ 1190578 w 1328932"/>
                  <a:gd name="connsiteY37" fmla="*/ 927031 h 1333866"/>
                  <a:gd name="connsiteX38" fmla="*/ 1249948 w 1328932"/>
                  <a:gd name="connsiteY38" fmla="*/ 987184 h 1333866"/>
                  <a:gd name="connsiteX39" fmla="*/ 1220394 w 1328932"/>
                  <a:gd name="connsiteY39" fmla="*/ 1034361 h 1333866"/>
                  <a:gd name="connsiteX40" fmla="*/ 1142032 w 1328932"/>
                  <a:gd name="connsiteY40" fmla="*/ 1007753 h 1333866"/>
                  <a:gd name="connsiteX41" fmla="*/ 1123131 w 1328932"/>
                  <a:gd name="connsiteY41" fmla="*/ 1033400 h 1333866"/>
                  <a:gd name="connsiteX42" fmla="*/ 1101486 w 1328932"/>
                  <a:gd name="connsiteY42" fmla="*/ 1057553 h 1333866"/>
                  <a:gd name="connsiteX43" fmla="*/ 1142950 w 1328932"/>
                  <a:gd name="connsiteY43" fmla="*/ 1129630 h 1333866"/>
                  <a:gd name="connsiteX44" fmla="*/ 1102383 w 1328932"/>
                  <a:gd name="connsiteY44" fmla="*/ 1167754 h 1333866"/>
                  <a:gd name="connsiteX45" fmla="*/ 1034133 w 1328932"/>
                  <a:gd name="connsiteY45" fmla="*/ 1122634 h 1333866"/>
                  <a:gd name="connsiteX46" fmla="*/ 1032173 w 1328932"/>
                  <a:gd name="connsiteY46" fmla="*/ 1124392 h 1333866"/>
                  <a:gd name="connsiteX47" fmla="*/ 979289 w 1328932"/>
                  <a:gd name="connsiteY47" fmla="*/ 1160837 h 1333866"/>
                  <a:gd name="connsiteX48" fmla="*/ 1000685 w 1328932"/>
                  <a:gd name="connsiteY48" fmla="*/ 1238240 h 1333866"/>
                  <a:gd name="connsiteX49" fmla="*/ 951883 w 1328932"/>
                  <a:gd name="connsiteY49" fmla="*/ 1265027 h 1333866"/>
                  <a:gd name="connsiteX50" fmla="*/ 897347 w 1328932"/>
                  <a:gd name="connsiteY50" fmla="*/ 1204611 h 1333866"/>
                  <a:gd name="connsiteX51" fmla="*/ 883350 w 1328932"/>
                  <a:gd name="connsiteY51" fmla="*/ 1211476 h 1333866"/>
                  <a:gd name="connsiteX52" fmla="*/ 839354 w 1328932"/>
                  <a:gd name="connsiteY52" fmla="*/ 1226815 h 1333866"/>
                  <a:gd name="connsiteX53" fmla="*/ 836102 w 1328932"/>
                  <a:gd name="connsiteY53" fmla="*/ 1310758 h 1333866"/>
                  <a:gd name="connsiteX54" fmla="*/ 781473 w 1328932"/>
                  <a:gd name="connsiteY54" fmla="*/ 1321469 h 1333866"/>
                  <a:gd name="connsiteX55" fmla="*/ 747723 w 1328932"/>
                  <a:gd name="connsiteY55" fmla="*/ 1247077 h 1333866"/>
                  <a:gd name="connsiteX56" fmla="*/ 724640 w 1328932"/>
                  <a:gd name="connsiteY56" fmla="*/ 1250526 h 1333866"/>
                  <a:gd name="connsiteX57" fmla="*/ 680478 w 1328932"/>
                  <a:gd name="connsiteY57" fmla="*/ 1252756 h 1333866"/>
                  <a:gd name="connsiteX58" fmla="*/ 661856 w 1328932"/>
                  <a:gd name="connsiteY58" fmla="*/ 1333866 h 1333866"/>
                  <a:gd name="connsiteX59" fmla="*/ 596350 w 1328932"/>
                  <a:gd name="connsiteY59" fmla="*/ 1330734 h 1333866"/>
                  <a:gd name="connsiteX60" fmla="*/ 585472 w 1328932"/>
                  <a:gd name="connsiteY60" fmla="*/ 1247624 h 1333866"/>
                  <a:gd name="connsiteX61" fmla="*/ 546140 w 1328932"/>
                  <a:gd name="connsiteY61" fmla="*/ 1241622 h 1333866"/>
                  <a:gd name="connsiteX62" fmla="*/ 517647 w 1328932"/>
                  <a:gd name="connsiteY62" fmla="*/ 1234296 h 1333866"/>
                  <a:gd name="connsiteX63" fmla="*/ 473128 w 1328932"/>
                  <a:gd name="connsiteY63" fmla="*/ 1305805 h 1333866"/>
                  <a:gd name="connsiteX64" fmla="*/ 420365 w 1328932"/>
                  <a:gd name="connsiteY64" fmla="*/ 1288054 h 1333866"/>
                  <a:gd name="connsiteX65" fmla="*/ 428168 w 1328932"/>
                  <a:gd name="connsiteY65" fmla="*/ 1203686 h 1333866"/>
                  <a:gd name="connsiteX66" fmla="*/ 384478 w 1328932"/>
                  <a:gd name="connsiteY66" fmla="*/ 1182639 h 1333866"/>
                  <a:gd name="connsiteX67" fmla="*/ 369786 w 1328932"/>
                  <a:gd name="connsiteY67" fmla="*/ 1173432 h 1333866"/>
                  <a:gd name="connsiteX68" fmla="*/ 307149 w 1328932"/>
                  <a:gd name="connsiteY68" fmla="*/ 1230379 h 1333866"/>
                  <a:gd name="connsiteX69" fmla="*/ 261223 w 1328932"/>
                  <a:gd name="connsiteY69" fmla="*/ 1198917 h 1333866"/>
                  <a:gd name="connsiteX70" fmla="*/ 292070 w 1328932"/>
                  <a:gd name="connsiteY70" fmla="*/ 1118989 h 1333866"/>
                  <a:gd name="connsiteX71" fmla="*/ 266224 w 1328932"/>
                  <a:gd name="connsiteY71" fmla="*/ 1097936 h 1333866"/>
                  <a:gd name="connsiteX72" fmla="*/ 244458 w 1328932"/>
                  <a:gd name="connsiteY72" fmla="*/ 1075225 h 1333866"/>
                  <a:gd name="connsiteX73" fmla="*/ 170858 w 1328932"/>
                  <a:gd name="connsiteY73" fmla="*/ 1111425 h 1333866"/>
                  <a:gd name="connsiteX74" fmla="*/ 135448 w 1328932"/>
                  <a:gd name="connsiteY74" fmla="*/ 1068469 h 1333866"/>
                  <a:gd name="connsiteX75" fmla="*/ 184688 w 1328932"/>
                  <a:gd name="connsiteY75" fmla="*/ 1003573 h 1333866"/>
                  <a:gd name="connsiteX76" fmla="*/ 172420 w 1328932"/>
                  <a:gd name="connsiteY76" fmla="*/ 987127 h 1333866"/>
                  <a:gd name="connsiteX77" fmla="*/ 147185 w 1328932"/>
                  <a:gd name="connsiteY77" fmla="*/ 943990 h 1333866"/>
                  <a:gd name="connsiteX78" fmla="*/ 62973 w 1328932"/>
                  <a:gd name="connsiteY78" fmla="*/ 954755 h 1333866"/>
                  <a:gd name="connsiteX79" fmla="*/ 43391 w 1328932"/>
                  <a:gd name="connsiteY79" fmla="*/ 902643 h 1333866"/>
                  <a:gd name="connsiteX80" fmla="*/ 109846 w 1328932"/>
                  <a:gd name="connsiteY80" fmla="*/ 857979 h 1333866"/>
                  <a:gd name="connsiteX81" fmla="*/ 99254 w 1328932"/>
                  <a:gd name="connsiteY81" fmla="*/ 826823 h 1333866"/>
                  <a:gd name="connsiteX82" fmla="*/ 91285 w 1328932"/>
                  <a:gd name="connsiteY82" fmla="*/ 789027 h 1333866"/>
                  <a:gd name="connsiteX83" fmla="*/ 6677 w 1328932"/>
                  <a:gd name="connsiteY83" fmla="*/ 779505 h 1333866"/>
                  <a:gd name="connsiteX84" fmla="*/ 0 w 1328932"/>
                  <a:gd name="connsiteY84" fmla="*/ 724237 h 1333866"/>
                  <a:gd name="connsiteX85" fmla="*/ 78990 w 1328932"/>
                  <a:gd name="connsiteY85" fmla="*/ 695176 h 1333866"/>
                  <a:gd name="connsiteX86" fmla="*/ 76963 w 1328932"/>
                  <a:gd name="connsiteY86" fmla="*/ 665961 h 1333866"/>
                  <a:gd name="connsiteX87" fmla="*/ 79576 w 1328932"/>
                  <a:gd name="connsiteY87" fmla="*/ 627118 h 1333866"/>
                  <a:gd name="connsiteX88" fmla="*/ 2614 w 1328932"/>
                  <a:gd name="connsiteY88" fmla="*/ 599172 h 1333866"/>
                  <a:gd name="connsiteX89" fmla="*/ 9058 w 1328932"/>
                  <a:gd name="connsiteY89" fmla="*/ 543876 h 1333866"/>
                  <a:gd name="connsiteX90" fmla="*/ 92983 w 1328932"/>
                  <a:gd name="connsiteY90" fmla="*/ 534071 h 1333866"/>
                  <a:gd name="connsiteX91" fmla="*/ 97943 w 1328932"/>
                  <a:gd name="connsiteY91" fmla="*/ 509790 h 1333866"/>
                  <a:gd name="connsiteX92" fmla="*/ 113985 w 1328932"/>
                  <a:gd name="connsiteY92" fmla="*/ 463592 h 1333866"/>
                  <a:gd name="connsiteX93" fmla="*/ 48447 w 1328932"/>
                  <a:gd name="connsiteY93" fmla="*/ 415605 h 1333866"/>
                  <a:gd name="connsiteX94" fmla="*/ 70110 w 1328932"/>
                  <a:gd name="connsiteY94" fmla="*/ 364324 h 1333866"/>
                  <a:gd name="connsiteX95" fmla="*/ 152721 w 1328932"/>
                  <a:gd name="connsiteY95" fmla="*/ 378283 h 1333866"/>
                  <a:gd name="connsiteX96" fmla="*/ 157150 w 1328932"/>
                  <a:gd name="connsiteY96" fmla="*/ 369453 h 1333866"/>
                  <a:gd name="connsiteX97" fmla="*/ 186297 w 1328932"/>
                  <a:gd name="connsiteY97" fmla="*/ 325075 h 1333866"/>
                  <a:gd name="connsiteX98" fmla="*/ 136161 w 1328932"/>
                  <a:gd name="connsiteY98" fmla="*/ 260212 h 1333866"/>
                  <a:gd name="connsiteX99" fmla="*/ 171186 w 1328932"/>
                  <a:gd name="connsiteY99" fmla="*/ 216941 h 1333866"/>
                  <a:gd name="connsiteX100" fmla="*/ 247151 w 1328932"/>
                  <a:gd name="connsiteY100" fmla="*/ 253464 h 1333866"/>
                  <a:gd name="connsiteX101" fmla="*/ 270780 w 1328932"/>
                  <a:gd name="connsiteY101" fmla="*/ 229826 h 1333866"/>
                  <a:gd name="connsiteX102" fmla="*/ 297792 w 1328932"/>
                  <a:gd name="connsiteY102" fmla="*/ 208570 h 1333866"/>
                  <a:gd name="connsiteX103" fmla="*/ 270314 w 1328932"/>
                  <a:gd name="connsiteY103" fmla="*/ 128437 h 1333866"/>
                  <a:gd name="connsiteX104" fmla="*/ 317402 w 1328932"/>
                  <a:gd name="connsiteY104" fmla="*/ 98741 h 1333866"/>
                  <a:gd name="connsiteX105" fmla="*/ 375534 w 1328932"/>
                  <a:gd name="connsiteY105" fmla="*/ 155773 h 1333866"/>
                  <a:gd name="connsiteX106" fmla="*/ 403413 w 1328932"/>
                  <a:gd name="connsiteY106" fmla="*/ 139438 h 1333866"/>
                  <a:gd name="connsiteX107" fmla="*/ 430496 w 1328932"/>
                  <a:gd name="connsiteY107" fmla="*/ 127395 h 1333866"/>
                  <a:gd name="connsiteX108" fmla="*/ 422175 w 1328932"/>
                  <a:gd name="connsiteY108" fmla="*/ 43886 h 1333866"/>
                  <a:gd name="connsiteX109" fmla="*/ 474812 w 1328932"/>
                  <a:gd name="connsiteY109" fmla="*/ 25761 h 1333866"/>
                  <a:gd name="connsiteX110" fmla="*/ 519802 w 1328932"/>
                  <a:gd name="connsiteY110" fmla="*/ 96899 h 1333866"/>
                  <a:gd name="connsiteX111" fmla="*/ 546140 w 1328932"/>
                  <a:gd name="connsiteY111" fmla="*/ 90300 h 1333866"/>
                  <a:gd name="connsiteX112" fmla="*/ 580134 w 1328932"/>
                  <a:gd name="connsiteY112" fmla="*/ 85112 h 1333866"/>
                  <a:gd name="connsiteX113" fmla="*/ 595139 w 1328932"/>
                  <a:gd name="connsiteY113" fmla="*/ 2884 h 1333866"/>
                  <a:gd name="connsiteX114" fmla="*/ 650734 w 1328932"/>
                  <a:gd name="connsiteY114" fmla="*/ 0 h 1333866"/>
                  <a:gd name="connsiteX115" fmla="*/ 664466 w 1328932"/>
                  <a:gd name="connsiteY115" fmla="*/ 190154 h 1333866"/>
                  <a:gd name="connsiteX116" fmla="*/ 187687 w 1328932"/>
                  <a:gd name="connsiteY116" fmla="*/ 666933 h 1333866"/>
                  <a:gd name="connsiteX117" fmla="*/ 664466 w 1328932"/>
                  <a:gd name="connsiteY117" fmla="*/ 1143712 h 1333866"/>
                  <a:gd name="connsiteX118" fmla="*/ 1141245 w 1328932"/>
                  <a:gd name="connsiteY118" fmla="*/ 666933 h 1333866"/>
                  <a:gd name="connsiteX119" fmla="*/ 664466 w 1328932"/>
                  <a:gd name="connsiteY119" fmla="*/ 190154 h 1333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328932" h="1333866">
                    <a:moveTo>
                      <a:pt x="650734" y="0"/>
                    </a:moveTo>
                    <a:lnTo>
                      <a:pt x="673812" y="79029"/>
                    </a:lnTo>
                    <a:lnTo>
                      <a:pt x="737265" y="83600"/>
                    </a:lnTo>
                    <a:lnTo>
                      <a:pt x="773421" y="6872"/>
                    </a:lnTo>
                    <a:lnTo>
                      <a:pt x="827889" y="18371"/>
                    </a:lnTo>
                    <a:lnTo>
                      <a:pt x="829920" y="102056"/>
                    </a:lnTo>
                    <a:lnTo>
                      <a:pt x="831348" y="102369"/>
                    </a:lnTo>
                    <a:lnTo>
                      <a:pt x="889394" y="124065"/>
                    </a:lnTo>
                    <a:lnTo>
                      <a:pt x="946313" y="59656"/>
                    </a:lnTo>
                    <a:lnTo>
                      <a:pt x="995394" y="85925"/>
                    </a:lnTo>
                    <a:lnTo>
                      <a:pt x="973958" y="166793"/>
                    </a:lnTo>
                    <a:lnTo>
                      <a:pt x="979500" y="169802"/>
                    </a:lnTo>
                    <a:lnTo>
                      <a:pt x="1029879" y="205872"/>
                    </a:lnTo>
                    <a:lnTo>
                      <a:pt x="1101640" y="160568"/>
                    </a:lnTo>
                    <a:lnTo>
                      <a:pt x="1141398" y="199536"/>
                    </a:lnTo>
                    <a:lnTo>
                      <a:pt x="1098344" y="270865"/>
                    </a:lnTo>
                    <a:lnTo>
                      <a:pt x="1122993" y="298349"/>
                    </a:lnTo>
                    <a:lnTo>
                      <a:pt x="1143724" y="328433"/>
                    </a:lnTo>
                    <a:lnTo>
                      <a:pt x="1223600" y="305308"/>
                    </a:lnTo>
                    <a:lnTo>
                      <a:pt x="1250976" y="353781"/>
                    </a:lnTo>
                    <a:lnTo>
                      <a:pt x="1191329" y="408950"/>
                    </a:lnTo>
                    <a:lnTo>
                      <a:pt x="1210078" y="447173"/>
                    </a:lnTo>
                    <a:lnTo>
                      <a:pt x="1215570" y="462927"/>
                    </a:lnTo>
                    <a:lnTo>
                      <a:pt x="1297622" y="459842"/>
                    </a:lnTo>
                    <a:lnTo>
                      <a:pt x="1312464" y="513497"/>
                    </a:lnTo>
                    <a:lnTo>
                      <a:pt x="1241172" y="552647"/>
                    </a:lnTo>
                    <a:lnTo>
                      <a:pt x="1249127" y="605882"/>
                    </a:lnTo>
                    <a:lnTo>
                      <a:pt x="1250047" y="624091"/>
                    </a:lnTo>
                    <a:lnTo>
                      <a:pt x="1328932" y="642753"/>
                    </a:lnTo>
                    <a:lnTo>
                      <a:pt x="1328932" y="698423"/>
                    </a:lnTo>
                    <a:lnTo>
                      <a:pt x="1249387" y="717241"/>
                    </a:lnTo>
                    <a:lnTo>
                      <a:pt x="1248684" y="730252"/>
                    </a:lnTo>
                    <a:lnTo>
                      <a:pt x="1241256" y="775655"/>
                    </a:lnTo>
                    <a:lnTo>
                      <a:pt x="1313610" y="816722"/>
                    </a:lnTo>
                    <a:lnTo>
                      <a:pt x="1298015" y="870162"/>
                    </a:lnTo>
                    <a:lnTo>
                      <a:pt x="1216626" y="865957"/>
                    </a:lnTo>
                    <a:lnTo>
                      <a:pt x="1199435" y="909582"/>
                    </a:lnTo>
                    <a:lnTo>
                      <a:pt x="1190578" y="927031"/>
                    </a:lnTo>
                    <a:lnTo>
                      <a:pt x="1249948" y="987184"/>
                    </a:lnTo>
                    <a:lnTo>
                      <a:pt x="1220394" y="1034361"/>
                    </a:lnTo>
                    <a:lnTo>
                      <a:pt x="1142032" y="1007753"/>
                    </a:lnTo>
                    <a:lnTo>
                      <a:pt x="1123131" y="1033400"/>
                    </a:lnTo>
                    <a:lnTo>
                      <a:pt x="1101486" y="1057553"/>
                    </a:lnTo>
                    <a:lnTo>
                      <a:pt x="1142950" y="1129630"/>
                    </a:lnTo>
                    <a:lnTo>
                      <a:pt x="1102383" y="1167754"/>
                    </a:lnTo>
                    <a:lnTo>
                      <a:pt x="1034133" y="1122634"/>
                    </a:lnTo>
                    <a:lnTo>
                      <a:pt x="1032173" y="1124392"/>
                    </a:lnTo>
                    <a:lnTo>
                      <a:pt x="979289" y="1160837"/>
                    </a:lnTo>
                    <a:lnTo>
                      <a:pt x="1000685" y="1238240"/>
                    </a:lnTo>
                    <a:lnTo>
                      <a:pt x="951883" y="1265027"/>
                    </a:lnTo>
                    <a:lnTo>
                      <a:pt x="897347" y="1204611"/>
                    </a:lnTo>
                    <a:lnTo>
                      <a:pt x="883350" y="1211476"/>
                    </a:lnTo>
                    <a:lnTo>
                      <a:pt x="839354" y="1226815"/>
                    </a:lnTo>
                    <a:lnTo>
                      <a:pt x="836102" y="1310758"/>
                    </a:lnTo>
                    <a:lnTo>
                      <a:pt x="781473" y="1321469"/>
                    </a:lnTo>
                    <a:lnTo>
                      <a:pt x="747723" y="1247077"/>
                    </a:lnTo>
                    <a:lnTo>
                      <a:pt x="724640" y="1250526"/>
                    </a:lnTo>
                    <a:lnTo>
                      <a:pt x="680478" y="1252756"/>
                    </a:lnTo>
                    <a:lnTo>
                      <a:pt x="661856" y="1333866"/>
                    </a:lnTo>
                    <a:lnTo>
                      <a:pt x="596350" y="1330734"/>
                    </a:lnTo>
                    <a:lnTo>
                      <a:pt x="585472" y="1247624"/>
                    </a:lnTo>
                    <a:lnTo>
                      <a:pt x="546140" y="1241622"/>
                    </a:lnTo>
                    <a:lnTo>
                      <a:pt x="517647" y="1234296"/>
                    </a:lnTo>
                    <a:lnTo>
                      <a:pt x="473128" y="1305805"/>
                    </a:lnTo>
                    <a:lnTo>
                      <a:pt x="420365" y="1288054"/>
                    </a:lnTo>
                    <a:lnTo>
                      <a:pt x="428168" y="1203686"/>
                    </a:lnTo>
                    <a:lnTo>
                      <a:pt x="384478" y="1182639"/>
                    </a:lnTo>
                    <a:lnTo>
                      <a:pt x="369786" y="1173432"/>
                    </a:lnTo>
                    <a:lnTo>
                      <a:pt x="307149" y="1230379"/>
                    </a:lnTo>
                    <a:lnTo>
                      <a:pt x="261223" y="1198917"/>
                    </a:lnTo>
                    <a:lnTo>
                      <a:pt x="292070" y="1118989"/>
                    </a:lnTo>
                    <a:lnTo>
                      <a:pt x="266224" y="1097936"/>
                    </a:lnTo>
                    <a:lnTo>
                      <a:pt x="244458" y="1075225"/>
                    </a:lnTo>
                    <a:lnTo>
                      <a:pt x="170858" y="1111425"/>
                    </a:lnTo>
                    <a:lnTo>
                      <a:pt x="135448" y="1068469"/>
                    </a:lnTo>
                    <a:lnTo>
                      <a:pt x="184688" y="1003573"/>
                    </a:lnTo>
                    <a:lnTo>
                      <a:pt x="172420" y="987127"/>
                    </a:lnTo>
                    <a:lnTo>
                      <a:pt x="147185" y="943990"/>
                    </a:lnTo>
                    <a:lnTo>
                      <a:pt x="62973" y="954755"/>
                    </a:lnTo>
                    <a:lnTo>
                      <a:pt x="43391" y="902643"/>
                    </a:lnTo>
                    <a:lnTo>
                      <a:pt x="109846" y="857979"/>
                    </a:lnTo>
                    <a:lnTo>
                      <a:pt x="99254" y="826823"/>
                    </a:lnTo>
                    <a:lnTo>
                      <a:pt x="91285" y="789027"/>
                    </a:lnTo>
                    <a:lnTo>
                      <a:pt x="6677" y="779505"/>
                    </a:lnTo>
                    <a:lnTo>
                      <a:pt x="0" y="724237"/>
                    </a:lnTo>
                    <a:lnTo>
                      <a:pt x="78990" y="695176"/>
                    </a:lnTo>
                    <a:lnTo>
                      <a:pt x="76963" y="665961"/>
                    </a:lnTo>
                    <a:lnTo>
                      <a:pt x="79576" y="627118"/>
                    </a:lnTo>
                    <a:lnTo>
                      <a:pt x="2614" y="599172"/>
                    </a:lnTo>
                    <a:lnTo>
                      <a:pt x="9058" y="543876"/>
                    </a:lnTo>
                    <a:lnTo>
                      <a:pt x="92983" y="534071"/>
                    </a:lnTo>
                    <a:lnTo>
                      <a:pt x="97943" y="509790"/>
                    </a:lnTo>
                    <a:lnTo>
                      <a:pt x="113985" y="463592"/>
                    </a:lnTo>
                    <a:lnTo>
                      <a:pt x="48447" y="415605"/>
                    </a:lnTo>
                    <a:lnTo>
                      <a:pt x="70110" y="364324"/>
                    </a:lnTo>
                    <a:lnTo>
                      <a:pt x="152721" y="378283"/>
                    </a:lnTo>
                    <a:lnTo>
                      <a:pt x="157150" y="369453"/>
                    </a:lnTo>
                    <a:lnTo>
                      <a:pt x="186297" y="325075"/>
                    </a:lnTo>
                    <a:lnTo>
                      <a:pt x="136161" y="260212"/>
                    </a:lnTo>
                    <a:lnTo>
                      <a:pt x="171186" y="216941"/>
                    </a:lnTo>
                    <a:lnTo>
                      <a:pt x="247151" y="253464"/>
                    </a:lnTo>
                    <a:lnTo>
                      <a:pt x="270780" y="229826"/>
                    </a:lnTo>
                    <a:lnTo>
                      <a:pt x="297792" y="208570"/>
                    </a:lnTo>
                    <a:lnTo>
                      <a:pt x="270314" y="128437"/>
                    </a:lnTo>
                    <a:lnTo>
                      <a:pt x="317402" y="98741"/>
                    </a:lnTo>
                    <a:lnTo>
                      <a:pt x="375534" y="155773"/>
                    </a:lnTo>
                    <a:lnTo>
                      <a:pt x="403413" y="139438"/>
                    </a:lnTo>
                    <a:lnTo>
                      <a:pt x="430496" y="127395"/>
                    </a:lnTo>
                    <a:lnTo>
                      <a:pt x="422175" y="43886"/>
                    </a:lnTo>
                    <a:lnTo>
                      <a:pt x="474812" y="25761"/>
                    </a:lnTo>
                    <a:lnTo>
                      <a:pt x="519802" y="96899"/>
                    </a:lnTo>
                    <a:lnTo>
                      <a:pt x="546140" y="90300"/>
                    </a:lnTo>
                    <a:lnTo>
                      <a:pt x="580134" y="85112"/>
                    </a:lnTo>
                    <a:lnTo>
                      <a:pt x="595139" y="2884"/>
                    </a:lnTo>
                    <a:lnTo>
                      <a:pt x="650734" y="0"/>
                    </a:lnTo>
                    <a:close/>
                    <a:moveTo>
                      <a:pt x="664466" y="190154"/>
                    </a:moveTo>
                    <a:cubicBezTo>
                      <a:pt x="401148" y="190154"/>
                      <a:pt x="187687" y="403615"/>
                      <a:pt x="187687" y="666933"/>
                    </a:cubicBezTo>
                    <a:cubicBezTo>
                      <a:pt x="187687" y="930251"/>
                      <a:pt x="401148" y="1143712"/>
                      <a:pt x="664466" y="1143712"/>
                    </a:cubicBezTo>
                    <a:cubicBezTo>
                      <a:pt x="927784" y="1143712"/>
                      <a:pt x="1141245" y="930251"/>
                      <a:pt x="1141245" y="666933"/>
                    </a:cubicBezTo>
                    <a:cubicBezTo>
                      <a:pt x="1141245" y="403615"/>
                      <a:pt x="927784" y="190154"/>
                      <a:pt x="664466" y="190154"/>
                    </a:cubicBezTo>
                    <a:close/>
                  </a:path>
                </a:pathLst>
              </a:cu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" name="Oval 156"/>
              <p:cNvSpPr/>
              <p:nvPr/>
            </p:nvSpPr>
            <p:spPr>
              <a:xfrm>
                <a:off x="6242651" y="4824470"/>
                <a:ext cx="394036" cy="394036"/>
              </a:xfrm>
              <a:prstGeom prst="ellipse">
                <a:avLst/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" name="Rectangle 1"/>
              <p:cNvSpPr/>
              <p:nvPr/>
            </p:nvSpPr>
            <p:spPr>
              <a:xfrm>
                <a:off x="6385606" y="4917058"/>
                <a:ext cx="170708" cy="91541"/>
              </a:xfrm>
              <a:custGeom>
                <a:avLst/>
                <a:gdLst>
                  <a:gd name="connsiteX0" fmla="*/ 0 w 4516017"/>
                  <a:gd name="connsiteY0" fmla="*/ 0 h 2612572"/>
                  <a:gd name="connsiteX1" fmla="*/ 4516017 w 4516017"/>
                  <a:gd name="connsiteY1" fmla="*/ 0 h 2612572"/>
                  <a:gd name="connsiteX2" fmla="*/ 4516017 w 4516017"/>
                  <a:gd name="connsiteY2" fmla="*/ 2612572 h 2612572"/>
                  <a:gd name="connsiteX3" fmla="*/ 0 w 4516017"/>
                  <a:gd name="connsiteY3" fmla="*/ 2612572 h 2612572"/>
                  <a:gd name="connsiteX4" fmla="*/ 0 w 4516017"/>
                  <a:gd name="connsiteY4" fmla="*/ 0 h 2612572"/>
                  <a:gd name="connsiteX0" fmla="*/ 0 w 4516017"/>
                  <a:gd name="connsiteY0" fmla="*/ 37322 h 2649894"/>
                  <a:gd name="connsiteX1" fmla="*/ 3638940 w 4516017"/>
                  <a:gd name="connsiteY1" fmla="*/ 0 h 2649894"/>
                  <a:gd name="connsiteX2" fmla="*/ 4516017 w 4516017"/>
                  <a:gd name="connsiteY2" fmla="*/ 2649894 h 2649894"/>
                  <a:gd name="connsiteX3" fmla="*/ 0 w 4516017"/>
                  <a:gd name="connsiteY3" fmla="*/ 2649894 h 2649894"/>
                  <a:gd name="connsiteX4" fmla="*/ 0 w 4516017"/>
                  <a:gd name="connsiteY4" fmla="*/ 37322 h 2649894"/>
                  <a:gd name="connsiteX0" fmla="*/ 0 w 4453264"/>
                  <a:gd name="connsiteY0" fmla="*/ 37322 h 2649894"/>
                  <a:gd name="connsiteX1" fmla="*/ 3638940 w 4453264"/>
                  <a:gd name="connsiteY1" fmla="*/ 0 h 2649894"/>
                  <a:gd name="connsiteX2" fmla="*/ 4453264 w 4453264"/>
                  <a:gd name="connsiteY2" fmla="*/ 1457588 h 2649894"/>
                  <a:gd name="connsiteX3" fmla="*/ 0 w 4453264"/>
                  <a:gd name="connsiteY3" fmla="*/ 2649894 h 2649894"/>
                  <a:gd name="connsiteX4" fmla="*/ 0 w 4453264"/>
                  <a:gd name="connsiteY4" fmla="*/ 37322 h 2649894"/>
                  <a:gd name="connsiteX0" fmla="*/ 0 w 4453264"/>
                  <a:gd name="connsiteY0" fmla="*/ 0 h 2612572"/>
                  <a:gd name="connsiteX1" fmla="*/ 3576188 w 4453264"/>
                  <a:gd name="connsiteY1" fmla="*/ 25431 h 2612572"/>
                  <a:gd name="connsiteX2" fmla="*/ 4453264 w 4453264"/>
                  <a:gd name="connsiteY2" fmla="*/ 1420266 h 2612572"/>
                  <a:gd name="connsiteX3" fmla="*/ 0 w 4453264"/>
                  <a:gd name="connsiteY3" fmla="*/ 2612572 h 2612572"/>
                  <a:gd name="connsiteX4" fmla="*/ 0 w 4453264"/>
                  <a:gd name="connsiteY4" fmla="*/ 0 h 2612572"/>
                  <a:gd name="connsiteX0" fmla="*/ 0 w 4471193"/>
                  <a:gd name="connsiteY0" fmla="*/ 0 h 2612572"/>
                  <a:gd name="connsiteX1" fmla="*/ 3576188 w 4471193"/>
                  <a:gd name="connsiteY1" fmla="*/ 25431 h 2612572"/>
                  <a:gd name="connsiteX2" fmla="*/ 4471193 w 4471193"/>
                  <a:gd name="connsiteY2" fmla="*/ 1007890 h 2612572"/>
                  <a:gd name="connsiteX3" fmla="*/ 0 w 4471193"/>
                  <a:gd name="connsiteY3" fmla="*/ 2612572 h 2612572"/>
                  <a:gd name="connsiteX4" fmla="*/ 0 w 4471193"/>
                  <a:gd name="connsiteY4" fmla="*/ 0 h 2612572"/>
                  <a:gd name="connsiteX0" fmla="*/ 0 w 4471193"/>
                  <a:gd name="connsiteY0" fmla="*/ 0 h 2612572"/>
                  <a:gd name="connsiteX1" fmla="*/ 3637873 w 4471193"/>
                  <a:gd name="connsiteY1" fmla="*/ 94374 h 2612572"/>
                  <a:gd name="connsiteX2" fmla="*/ 4471193 w 4471193"/>
                  <a:gd name="connsiteY2" fmla="*/ 1007890 h 2612572"/>
                  <a:gd name="connsiteX3" fmla="*/ 0 w 4471193"/>
                  <a:gd name="connsiteY3" fmla="*/ 2612572 h 2612572"/>
                  <a:gd name="connsiteX4" fmla="*/ 0 w 4471193"/>
                  <a:gd name="connsiteY4" fmla="*/ 0 h 2612572"/>
                  <a:gd name="connsiteX0" fmla="*/ 0 w 4394993"/>
                  <a:gd name="connsiteY0" fmla="*/ 0 h 2612572"/>
                  <a:gd name="connsiteX1" fmla="*/ 3637873 w 4394993"/>
                  <a:gd name="connsiteY1" fmla="*/ 94374 h 2612572"/>
                  <a:gd name="connsiteX2" fmla="*/ 4394993 w 4394993"/>
                  <a:gd name="connsiteY2" fmla="*/ 913547 h 2612572"/>
                  <a:gd name="connsiteX3" fmla="*/ 0 w 4394993"/>
                  <a:gd name="connsiteY3" fmla="*/ 2612572 h 2612572"/>
                  <a:gd name="connsiteX4" fmla="*/ 0 w 4394993"/>
                  <a:gd name="connsiteY4" fmla="*/ 0 h 2612572"/>
                  <a:gd name="connsiteX0" fmla="*/ 0 w 4394993"/>
                  <a:gd name="connsiteY0" fmla="*/ 0 h 2612572"/>
                  <a:gd name="connsiteX1" fmla="*/ 3645131 w 4394993"/>
                  <a:gd name="connsiteY1" fmla="*/ 94374 h 2612572"/>
                  <a:gd name="connsiteX2" fmla="*/ 4394993 w 4394993"/>
                  <a:gd name="connsiteY2" fmla="*/ 913547 h 2612572"/>
                  <a:gd name="connsiteX3" fmla="*/ 0 w 4394993"/>
                  <a:gd name="connsiteY3" fmla="*/ 2612572 h 2612572"/>
                  <a:gd name="connsiteX4" fmla="*/ 0 w 4394993"/>
                  <a:gd name="connsiteY4" fmla="*/ 0 h 2612572"/>
                  <a:gd name="connsiteX0" fmla="*/ 0 w 4394993"/>
                  <a:gd name="connsiteY0" fmla="*/ 0 h 2612572"/>
                  <a:gd name="connsiteX1" fmla="*/ 2698102 w 4394993"/>
                  <a:gd name="connsiteY1" fmla="*/ 71535 h 2612572"/>
                  <a:gd name="connsiteX2" fmla="*/ 3645131 w 4394993"/>
                  <a:gd name="connsiteY2" fmla="*/ 94374 h 2612572"/>
                  <a:gd name="connsiteX3" fmla="*/ 4394993 w 4394993"/>
                  <a:gd name="connsiteY3" fmla="*/ 913547 h 2612572"/>
                  <a:gd name="connsiteX4" fmla="*/ 0 w 4394993"/>
                  <a:gd name="connsiteY4" fmla="*/ 2612572 h 2612572"/>
                  <a:gd name="connsiteX5" fmla="*/ 0 w 4394993"/>
                  <a:gd name="connsiteY5" fmla="*/ 0 h 2612572"/>
                  <a:gd name="connsiteX0" fmla="*/ 0 w 4394993"/>
                  <a:gd name="connsiteY0" fmla="*/ 0 h 2612572"/>
                  <a:gd name="connsiteX1" fmla="*/ 3158930 w 4394993"/>
                  <a:gd name="connsiteY1" fmla="*/ 60650 h 2612572"/>
                  <a:gd name="connsiteX2" fmla="*/ 3645131 w 4394993"/>
                  <a:gd name="connsiteY2" fmla="*/ 94374 h 2612572"/>
                  <a:gd name="connsiteX3" fmla="*/ 4394993 w 4394993"/>
                  <a:gd name="connsiteY3" fmla="*/ 913547 h 2612572"/>
                  <a:gd name="connsiteX4" fmla="*/ 0 w 4394993"/>
                  <a:gd name="connsiteY4" fmla="*/ 2612572 h 2612572"/>
                  <a:gd name="connsiteX5" fmla="*/ 0 w 4394993"/>
                  <a:gd name="connsiteY5" fmla="*/ 0 h 2612572"/>
                  <a:gd name="connsiteX0" fmla="*/ 0 w 4394993"/>
                  <a:gd name="connsiteY0" fmla="*/ 0 h 2612572"/>
                  <a:gd name="connsiteX1" fmla="*/ 2306217 w 4394993"/>
                  <a:gd name="connsiteY1" fmla="*/ 46135 h 2612572"/>
                  <a:gd name="connsiteX2" fmla="*/ 3158930 w 4394993"/>
                  <a:gd name="connsiteY2" fmla="*/ 60650 h 2612572"/>
                  <a:gd name="connsiteX3" fmla="*/ 3645131 w 4394993"/>
                  <a:gd name="connsiteY3" fmla="*/ 94374 h 2612572"/>
                  <a:gd name="connsiteX4" fmla="*/ 4394993 w 4394993"/>
                  <a:gd name="connsiteY4" fmla="*/ 913547 h 2612572"/>
                  <a:gd name="connsiteX5" fmla="*/ 0 w 4394993"/>
                  <a:gd name="connsiteY5" fmla="*/ 2612572 h 2612572"/>
                  <a:gd name="connsiteX6" fmla="*/ 0 w 4394993"/>
                  <a:gd name="connsiteY6" fmla="*/ 0 h 2612572"/>
                  <a:gd name="connsiteX0" fmla="*/ 0 w 4394993"/>
                  <a:gd name="connsiteY0" fmla="*/ 0 h 2612572"/>
                  <a:gd name="connsiteX1" fmla="*/ 2679960 w 4394993"/>
                  <a:gd name="connsiteY1" fmla="*/ 292878 h 2612572"/>
                  <a:gd name="connsiteX2" fmla="*/ 3158930 w 4394993"/>
                  <a:gd name="connsiteY2" fmla="*/ 60650 h 2612572"/>
                  <a:gd name="connsiteX3" fmla="*/ 3645131 w 4394993"/>
                  <a:gd name="connsiteY3" fmla="*/ 94374 h 2612572"/>
                  <a:gd name="connsiteX4" fmla="*/ 4394993 w 4394993"/>
                  <a:gd name="connsiteY4" fmla="*/ 913547 h 2612572"/>
                  <a:gd name="connsiteX5" fmla="*/ 0 w 4394993"/>
                  <a:gd name="connsiteY5" fmla="*/ 2612572 h 2612572"/>
                  <a:gd name="connsiteX6" fmla="*/ 0 w 4394993"/>
                  <a:gd name="connsiteY6" fmla="*/ 0 h 2612572"/>
                  <a:gd name="connsiteX0" fmla="*/ 0 w 4394993"/>
                  <a:gd name="connsiteY0" fmla="*/ 0 h 2612572"/>
                  <a:gd name="connsiteX1" fmla="*/ 2679960 w 4394993"/>
                  <a:gd name="connsiteY1" fmla="*/ 292878 h 2612572"/>
                  <a:gd name="connsiteX2" fmla="*/ 3158930 w 4394993"/>
                  <a:gd name="connsiteY2" fmla="*/ 60650 h 2612572"/>
                  <a:gd name="connsiteX3" fmla="*/ 3645131 w 4394993"/>
                  <a:gd name="connsiteY3" fmla="*/ 94374 h 2612572"/>
                  <a:gd name="connsiteX4" fmla="*/ 4394993 w 4394993"/>
                  <a:gd name="connsiteY4" fmla="*/ 913547 h 2612572"/>
                  <a:gd name="connsiteX5" fmla="*/ 0 w 4394993"/>
                  <a:gd name="connsiteY5" fmla="*/ 2612572 h 2612572"/>
                  <a:gd name="connsiteX6" fmla="*/ 0 w 4394993"/>
                  <a:gd name="connsiteY6" fmla="*/ 0 h 2612572"/>
                  <a:gd name="connsiteX0" fmla="*/ 0 w 4394993"/>
                  <a:gd name="connsiteY0" fmla="*/ 9251 h 2621823"/>
                  <a:gd name="connsiteX1" fmla="*/ 2679960 w 4394993"/>
                  <a:gd name="connsiteY1" fmla="*/ 302129 h 2621823"/>
                  <a:gd name="connsiteX2" fmla="*/ 3158930 w 4394993"/>
                  <a:gd name="connsiteY2" fmla="*/ 69901 h 2621823"/>
                  <a:gd name="connsiteX3" fmla="*/ 3645131 w 4394993"/>
                  <a:gd name="connsiteY3" fmla="*/ 103625 h 2621823"/>
                  <a:gd name="connsiteX4" fmla="*/ 4394993 w 4394993"/>
                  <a:gd name="connsiteY4" fmla="*/ 922798 h 2621823"/>
                  <a:gd name="connsiteX5" fmla="*/ 0 w 4394993"/>
                  <a:gd name="connsiteY5" fmla="*/ 2621823 h 2621823"/>
                  <a:gd name="connsiteX6" fmla="*/ 0 w 4394993"/>
                  <a:gd name="connsiteY6" fmla="*/ 9251 h 2621823"/>
                  <a:gd name="connsiteX0" fmla="*/ 0 w 4394993"/>
                  <a:gd name="connsiteY0" fmla="*/ 21038 h 2633610"/>
                  <a:gd name="connsiteX1" fmla="*/ 2679960 w 4394993"/>
                  <a:gd name="connsiteY1" fmla="*/ 313916 h 2633610"/>
                  <a:gd name="connsiteX2" fmla="*/ 3158930 w 4394993"/>
                  <a:gd name="connsiteY2" fmla="*/ 81688 h 2633610"/>
                  <a:gd name="connsiteX3" fmla="*/ 3645131 w 4394993"/>
                  <a:gd name="connsiteY3" fmla="*/ 115412 h 2633610"/>
                  <a:gd name="connsiteX4" fmla="*/ 4394993 w 4394993"/>
                  <a:gd name="connsiteY4" fmla="*/ 934585 h 2633610"/>
                  <a:gd name="connsiteX5" fmla="*/ 0 w 4394993"/>
                  <a:gd name="connsiteY5" fmla="*/ 2633610 h 2633610"/>
                  <a:gd name="connsiteX6" fmla="*/ 0 w 4394993"/>
                  <a:gd name="connsiteY6" fmla="*/ 21038 h 2633610"/>
                  <a:gd name="connsiteX0" fmla="*/ 0 w 4394993"/>
                  <a:gd name="connsiteY0" fmla="*/ 16214 h 2628786"/>
                  <a:gd name="connsiteX1" fmla="*/ 2679960 w 4394993"/>
                  <a:gd name="connsiteY1" fmla="*/ 309092 h 2628786"/>
                  <a:gd name="connsiteX2" fmla="*/ 3158930 w 4394993"/>
                  <a:gd name="connsiteY2" fmla="*/ 76864 h 2628786"/>
                  <a:gd name="connsiteX3" fmla="*/ 3645131 w 4394993"/>
                  <a:gd name="connsiteY3" fmla="*/ 110588 h 2628786"/>
                  <a:gd name="connsiteX4" fmla="*/ 4394993 w 4394993"/>
                  <a:gd name="connsiteY4" fmla="*/ 929761 h 2628786"/>
                  <a:gd name="connsiteX5" fmla="*/ 0 w 4394993"/>
                  <a:gd name="connsiteY5" fmla="*/ 2628786 h 2628786"/>
                  <a:gd name="connsiteX6" fmla="*/ 0 w 4394993"/>
                  <a:gd name="connsiteY6" fmla="*/ 16214 h 2628786"/>
                  <a:gd name="connsiteX0" fmla="*/ 0 w 4394993"/>
                  <a:gd name="connsiteY0" fmla="*/ 21436 h 2634008"/>
                  <a:gd name="connsiteX1" fmla="*/ 2679960 w 4394993"/>
                  <a:gd name="connsiteY1" fmla="*/ 314314 h 2634008"/>
                  <a:gd name="connsiteX2" fmla="*/ 3148045 w 4394993"/>
                  <a:gd name="connsiteY2" fmla="*/ 74829 h 2634008"/>
                  <a:gd name="connsiteX3" fmla="*/ 3645131 w 4394993"/>
                  <a:gd name="connsiteY3" fmla="*/ 115810 h 2634008"/>
                  <a:gd name="connsiteX4" fmla="*/ 4394993 w 4394993"/>
                  <a:gd name="connsiteY4" fmla="*/ 934983 h 2634008"/>
                  <a:gd name="connsiteX5" fmla="*/ 0 w 4394993"/>
                  <a:gd name="connsiteY5" fmla="*/ 2634008 h 2634008"/>
                  <a:gd name="connsiteX6" fmla="*/ 0 w 4394993"/>
                  <a:gd name="connsiteY6" fmla="*/ 21436 h 2634008"/>
                  <a:gd name="connsiteX0" fmla="*/ 0 w 4394993"/>
                  <a:gd name="connsiteY0" fmla="*/ 21436 h 2634008"/>
                  <a:gd name="connsiteX1" fmla="*/ 2679960 w 4394993"/>
                  <a:gd name="connsiteY1" fmla="*/ 314314 h 2634008"/>
                  <a:gd name="connsiteX2" fmla="*/ 3148045 w 4394993"/>
                  <a:gd name="connsiteY2" fmla="*/ 74829 h 2634008"/>
                  <a:gd name="connsiteX3" fmla="*/ 3645131 w 4394993"/>
                  <a:gd name="connsiteY3" fmla="*/ 115810 h 2634008"/>
                  <a:gd name="connsiteX4" fmla="*/ 4394993 w 4394993"/>
                  <a:gd name="connsiteY4" fmla="*/ 934983 h 2634008"/>
                  <a:gd name="connsiteX5" fmla="*/ 0 w 4394993"/>
                  <a:gd name="connsiteY5" fmla="*/ 2634008 h 2634008"/>
                  <a:gd name="connsiteX6" fmla="*/ 0 w 4394993"/>
                  <a:gd name="connsiteY6" fmla="*/ 21436 h 2634008"/>
                  <a:gd name="connsiteX0" fmla="*/ 0 w 4394993"/>
                  <a:gd name="connsiteY0" fmla="*/ 18213 h 2630785"/>
                  <a:gd name="connsiteX1" fmla="*/ 2679960 w 4394993"/>
                  <a:gd name="connsiteY1" fmla="*/ 311091 h 2630785"/>
                  <a:gd name="connsiteX2" fmla="*/ 3148045 w 4394993"/>
                  <a:gd name="connsiteY2" fmla="*/ 71606 h 2630785"/>
                  <a:gd name="connsiteX3" fmla="*/ 3645131 w 4394993"/>
                  <a:gd name="connsiteY3" fmla="*/ 112587 h 2630785"/>
                  <a:gd name="connsiteX4" fmla="*/ 4394993 w 4394993"/>
                  <a:gd name="connsiteY4" fmla="*/ 931760 h 2630785"/>
                  <a:gd name="connsiteX5" fmla="*/ 0 w 4394993"/>
                  <a:gd name="connsiteY5" fmla="*/ 2630785 h 2630785"/>
                  <a:gd name="connsiteX6" fmla="*/ 0 w 4394993"/>
                  <a:gd name="connsiteY6" fmla="*/ 18213 h 2630785"/>
                  <a:gd name="connsiteX0" fmla="*/ 0 w 4394993"/>
                  <a:gd name="connsiteY0" fmla="*/ 29361 h 2641933"/>
                  <a:gd name="connsiteX1" fmla="*/ 2679960 w 4394993"/>
                  <a:gd name="connsiteY1" fmla="*/ 322239 h 2641933"/>
                  <a:gd name="connsiteX2" fmla="*/ 3148045 w 4394993"/>
                  <a:gd name="connsiteY2" fmla="*/ 82754 h 2641933"/>
                  <a:gd name="connsiteX3" fmla="*/ 3645131 w 4394993"/>
                  <a:gd name="connsiteY3" fmla="*/ 123735 h 2641933"/>
                  <a:gd name="connsiteX4" fmla="*/ 4394993 w 4394993"/>
                  <a:gd name="connsiteY4" fmla="*/ 942908 h 2641933"/>
                  <a:gd name="connsiteX5" fmla="*/ 0 w 4394993"/>
                  <a:gd name="connsiteY5" fmla="*/ 2641933 h 2641933"/>
                  <a:gd name="connsiteX6" fmla="*/ 0 w 4394993"/>
                  <a:gd name="connsiteY6" fmla="*/ 29361 h 2641933"/>
                  <a:gd name="connsiteX0" fmla="*/ 0 w 4394993"/>
                  <a:gd name="connsiteY0" fmla="*/ 21450 h 2634022"/>
                  <a:gd name="connsiteX1" fmla="*/ 2679960 w 4394993"/>
                  <a:gd name="connsiteY1" fmla="*/ 314328 h 2634022"/>
                  <a:gd name="connsiteX2" fmla="*/ 3148045 w 4394993"/>
                  <a:gd name="connsiteY2" fmla="*/ 74843 h 2634022"/>
                  <a:gd name="connsiteX3" fmla="*/ 3670531 w 4394993"/>
                  <a:gd name="connsiteY3" fmla="*/ 141224 h 2634022"/>
                  <a:gd name="connsiteX4" fmla="*/ 4394993 w 4394993"/>
                  <a:gd name="connsiteY4" fmla="*/ 934997 h 2634022"/>
                  <a:gd name="connsiteX5" fmla="*/ 0 w 4394993"/>
                  <a:gd name="connsiteY5" fmla="*/ 2634022 h 2634022"/>
                  <a:gd name="connsiteX6" fmla="*/ 0 w 4394993"/>
                  <a:gd name="connsiteY6" fmla="*/ 21450 h 2634022"/>
                  <a:gd name="connsiteX0" fmla="*/ 0 w 4394993"/>
                  <a:gd name="connsiteY0" fmla="*/ 21450 h 2634022"/>
                  <a:gd name="connsiteX1" fmla="*/ 2679960 w 4394993"/>
                  <a:gd name="connsiteY1" fmla="*/ 314328 h 2634022"/>
                  <a:gd name="connsiteX2" fmla="*/ 3148045 w 4394993"/>
                  <a:gd name="connsiteY2" fmla="*/ 74843 h 2634022"/>
                  <a:gd name="connsiteX3" fmla="*/ 3670531 w 4394993"/>
                  <a:gd name="connsiteY3" fmla="*/ 141224 h 2634022"/>
                  <a:gd name="connsiteX4" fmla="*/ 4394993 w 4394993"/>
                  <a:gd name="connsiteY4" fmla="*/ 934997 h 2634022"/>
                  <a:gd name="connsiteX5" fmla="*/ 3859245 w 4394993"/>
                  <a:gd name="connsiteY5" fmla="*/ 1130756 h 2634022"/>
                  <a:gd name="connsiteX6" fmla="*/ 0 w 4394993"/>
                  <a:gd name="connsiteY6" fmla="*/ 2634022 h 2634022"/>
                  <a:gd name="connsiteX7" fmla="*/ 0 w 4394993"/>
                  <a:gd name="connsiteY7" fmla="*/ 21450 h 2634022"/>
                  <a:gd name="connsiteX0" fmla="*/ 0 w 4465217"/>
                  <a:gd name="connsiteY0" fmla="*/ 21450 h 2634022"/>
                  <a:gd name="connsiteX1" fmla="*/ 2679960 w 4465217"/>
                  <a:gd name="connsiteY1" fmla="*/ 314328 h 2634022"/>
                  <a:gd name="connsiteX2" fmla="*/ 3148045 w 4465217"/>
                  <a:gd name="connsiteY2" fmla="*/ 74843 h 2634022"/>
                  <a:gd name="connsiteX3" fmla="*/ 3670531 w 4465217"/>
                  <a:gd name="connsiteY3" fmla="*/ 141224 h 2634022"/>
                  <a:gd name="connsiteX4" fmla="*/ 4394993 w 4465217"/>
                  <a:gd name="connsiteY4" fmla="*/ 934997 h 2634022"/>
                  <a:gd name="connsiteX5" fmla="*/ 4465217 w 4465217"/>
                  <a:gd name="connsiteY5" fmla="*/ 1348470 h 2634022"/>
                  <a:gd name="connsiteX6" fmla="*/ 0 w 4465217"/>
                  <a:gd name="connsiteY6" fmla="*/ 2634022 h 2634022"/>
                  <a:gd name="connsiteX7" fmla="*/ 0 w 4465217"/>
                  <a:gd name="connsiteY7" fmla="*/ 21450 h 2634022"/>
                  <a:gd name="connsiteX0" fmla="*/ 0 w 4465217"/>
                  <a:gd name="connsiteY0" fmla="*/ 21450 h 2634022"/>
                  <a:gd name="connsiteX1" fmla="*/ 2679960 w 4465217"/>
                  <a:gd name="connsiteY1" fmla="*/ 314328 h 2634022"/>
                  <a:gd name="connsiteX2" fmla="*/ 3148045 w 4465217"/>
                  <a:gd name="connsiteY2" fmla="*/ 74843 h 2634022"/>
                  <a:gd name="connsiteX3" fmla="*/ 3670531 w 4465217"/>
                  <a:gd name="connsiteY3" fmla="*/ 141224 h 2634022"/>
                  <a:gd name="connsiteX4" fmla="*/ 4394993 w 4465217"/>
                  <a:gd name="connsiteY4" fmla="*/ 934997 h 2634022"/>
                  <a:gd name="connsiteX5" fmla="*/ 4465217 w 4465217"/>
                  <a:gd name="connsiteY5" fmla="*/ 1348470 h 2634022"/>
                  <a:gd name="connsiteX6" fmla="*/ 3296817 w 4465217"/>
                  <a:gd name="connsiteY6" fmla="*/ 1678671 h 2634022"/>
                  <a:gd name="connsiteX7" fmla="*/ 0 w 4465217"/>
                  <a:gd name="connsiteY7" fmla="*/ 2634022 h 2634022"/>
                  <a:gd name="connsiteX8" fmla="*/ 0 w 4465217"/>
                  <a:gd name="connsiteY8" fmla="*/ 21450 h 2634022"/>
                  <a:gd name="connsiteX0" fmla="*/ 0 w 4465217"/>
                  <a:gd name="connsiteY0" fmla="*/ 21450 h 2634022"/>
                  <a:gd name="connsiteX1" fmla="*/ 2679960 w 4465217"/>
                  <a:gd name="connsiteY1" fmla="*/ 314328 h 2634022"/>
                  <a:gd name="connsiteX2" fmla="*/ 3148045 w 4465217"/>
                  <a:gd name="connsiteY2" fmla="*/ 74843 h 2634022"/>
                  <a:gd name="connsiteX3" fmla="*/ 3670531 w 4465217"/>
                  <a:gd name="connsiteY3" fmla="*/ 141224 h 2634022"/>
                  <a:gd name="connsiteX4" fmla="*/ 4394993 w 4465217"/>
                  <a:gd name="connsiteY4" fmla="*/ 934997 h 2634022"/>
                  <a:gd name="connsiteX5" fmla="*/ 4465217 w 4465217"/>
                  <a:gd name="connsiteY5" fmla="*/ 1348470 h 2634022"/>
                  <a:gd name="connsiteX6" fmla="*/ 4171303 w 4465217"/>
                  <a:gd name="connsiteY6" fmla="*/ 1689557 h 2634022"/>
                  <a:gd name="connsiteX7" fmla="*/ 0 w 4465217"/>
                  <a:gd name="connsiteY7" fmla="*/ 2634022 h 2634022"/>
                  <a:gd name="connsiteX8" fmla="*/ 0 w 4465217"/>
                  <a:gd name="connsiteY8" fmla="*/ 21450 h 2634022"/>
                  <a:gd name="connsiteX0" fmla="*/ 0 w 4487666"/>
                  <a:gd name="connsiteY0" fmla="*/ 21450 h 2634022"/>
                  <a:gd name="connsiteX1" fmla="*/ 2679960 w 4487666"/>
                  <a:gd name="connsiteY1" fmla="*/ 314328 h 2634022"/>
                  <a:gd name="connsiteX2" fmla="*/ 3148045 w 4487666"/>
                  <a:gd name="connsiteY2" fmla="*/ 74843 h 2634022"/>
                  <a:gd name="connsiteX3" fmla="*/ 3670531 w 4487666"/>
                  <a:gd name="connsiteY3" fmla="*/ 141224 h 2634022"/>
                  <a:gd name="connsiteX4" fmla="*/ 4394993 w 4487666"/>
                  <a:gd name="connsiteY4" fmla="*/ 934997 h 2634022"/>
                  <a:gd name="connsiteX5" fmla="*/ 4465217 w 4487666"/>
                  <a:gd name="connsiteY5" fmla="*/ 1348470 h 2634022"/>
                  <a:gd name="connsiteX6" fmla="*/ 4171303 w 4487666"/>
                  <a:gd name="connsiteY6" fmla="*/ 1689557 h 2634022"/>
                  <a:gd name="connsiteX7" fmla="*/ 0 w 4487666"/>
                  <a:gd name="connsiteY7" fmla="*/ 2634022 h 2634022"/>
                  <a:gd name="connsiteX8" fmla="*/ 0 w 4487666"/>
                  <a:gd name="connsiteY8" fmla="*/ 21450 h 2634022"/>
                  <a:gd name="connsiteX0" fmla="*/ 0 w 4494029"/>
                  <a:gd name="connsiteY0" fmla="*/ 21450 h 2634022"/>
                  <a:gd name="connsiteX1" fmla="*/ 2679960 w 4494029"/>
                  <a:gd name="connsiteY1" fmla="*/ 314328 h 2634022"/>
                  <a:gd name="connsiteX2" fmla="*/ 3148045 w 4494029"/>
                  <a:gd name="connsiteY2" fmla="*/ 74843 h 2634022"/>
                  <a:gd name="connsiteX3" fmla="*/ 3670531 w 4494029"/>
                  <a:gd name="connsiteY3" fmla="*/ 141224 h 2634022"/>
                  <a:gd name="connsiteX4" fmla="*/ 4394993 w 4494029"/>
                  <a:gd name="connsiteY4" fmla="*/ 934997 h 2634022"/>
                  <a:gd name="connsiteX5" fmla="*/ 4465217 w 4494029"/>
                  <a:gd name="connsiteY5" fmla="*/ 1348470 h 2634022"/>
                  <a:gd name="connsiteX6" fmla="*/ 4171303 w 4494029"/>
                  <a:gd name="connsiteY6" fmla="*/ 1689557 h 2634022"/>
                  <a:gd name="connsiteX7" fmla="*/ 0 w 4494029"/>
                  <a:gd name="connsiteY7" fmla="*/ 2634022 h 2634022"/>
                  <a:gd name="connsiteX8" fmla="*/ 0 w 4494029"/>
                  <a:gd name="connsiteY8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71303 w 4497210"/>
                  <a:gd name="connsiteY6" fmla="*/ 1689557 h 2634022"/>
                  <a:gd name="connsiteX7" fmla="*/ 0 w 4497210"/>
                  <a:gd name="connsiteY7" fmla="*/ 2634022 h 2634022"/>
                  <a:gd name="connsiteX8" fmla="*/ 0 w 4497210"/>
                  <a:gd name="connsiteY8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71303 w 4497210"/>
                  <a:gd name="connsiteY6" fmla="*/ 1689557 h 2634022"/>
                  <a:gd name="connsiteX7" fmla="*/ 0 w 4497210"/>
                  <a:gd name="connsiteY7" fmla="*/ 2634022 h 2634022"/>
                  <a:gd name="connsiteX8" fmla="*/ 0 w 4497210"/>
                  <a:gd name="connsiteY8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71303 w 4497210"/>
                  <a:gd name="connsiteY6" fmla="*/ 1689557 h 2634022"/>
                  <a:gd name="connsiteX7" fmla="*/ 2843243 w 4497210"/>
                  <a:gd name="connsiteY7" fmla="*/ 1987099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71303 w 4497210"/>
                  <a:gd name="connsiteY6" fmla="*/ 1689557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96703 w 4497210"/>
                  <a:gd name="connsiteY6" fmla="*/ 1700443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96703 w 4497210"/>
                  <a:gd name="connsiteY6" fmla="*/ 1700443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96703 w 4497210"/>
                  <a:gd name="connsiteY6" fmla="*/ 1700443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38646 w 4497210"/>
                  <a:gd name="connsiteY6" fmla="*/ 1714957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38646 w 4497210"/>
                  <a:gd name="connsiteY6" fmla="*/ 1714957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38646 w 4497210"/>
                  <a:gd name="connsiteY6" fmla="*/ 1714957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5904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514529 w 4497210"/>
                  <a:gd name="connsiteY8" fmla="*/ 2357213 h 2634022"/>
                  <a:gd name="connsiteX9" fmla="*/ 0 w 4497210"/>
                  <a:gd name="connsiteY9" fmla="*/ 2634022 h 2634022"/>
                  <a:gd name="connsiteX10" fmla="*/ 0 w 4497210"/>
                  <a:gd name="connsiteY10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0 w 4497210"/>
                  <a:gd name="connsiteY9" fmla="*/ 2634022 h 2634022"/>
                  <a:gd name="connsiteX10" fmla="*/ 0 w 4497210"/>
                  <a:gd name="connsiteY10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0 w 4497210"/>
                  <a:gd name="connsiteY9" fmla="*/ 2634022 h 2634022"/>
                  <a:gd name="connsiteX10" fmla="*/ 0 w 4497210"/>
                  <a:gd name="connsiteY10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0 w 4497210"/>
                  <a:gd name="connsiteY9" fmla="*/ 2634022 h 2634022"/>
                  <a:gd name="connsiteX10" fmla="*/ 0 w 4497210"/>
                  <a:gd name="connsiteY10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429441 w 4497210"/>
                  <a:gd name="connsiteY9" fmla="*/ 2481746 h 2634022"/>
                  <a:gd name="connsiteX10" fmla="*/ 0 w 4497210"/>
                  <a:gd name="connsiteY10" fmla="*/ 2634022 h 2634022"/>
                  <a:gd name="connsiteX11" fmla="*/ 0 w 4497210"/>
                  <a:gd name="connsiteY11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24513 w 4497210"/>
                  <a:gd name="connsiteY9" fmla="*/ 1396658 h 2634022"/>
                  <a:gd name="connsiteX10" fmla="*/ 0 w 4497210"/>
                  <a:gd name="connsiteY10" fmla="*/ 2634022 h 2634022"/>
                  <a:gd name="connsiteX11" fmla="*/ 0 w 4497210"/>
                  <a:gd name="connsiteY11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0 w 4497210"/>
                  <a:gd name="connsiteY10" fmla="*/ 2634022 h 2634022"/>
                  <a:gd name="connsiteX11" fmla="*/ 0 w 4497210"/>
                  <a:gd name="connsiteY11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1824413 w 4497210"/>
                  <a:gd name="connsiteY10" fmla="*/ 1763942 h 2634022"/>
                  <a:gd name="connsiteX11" fmla="*/ 0 w 4497210"/>
                  <a:gd name="connsiteY11" fmla="*/ 2634022 h 2634022"/>
                  <a:gd name="connsiteX12" fmla="*/ 0 w 4497210"/>
                  <a:gd name="connsiteY12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0 w 4497210"/>
                  <a:gd name="connsiteY11" fmla="*/ 2634022 h 2634022"/>
                  <a:gd name="connsiteX12" fmla="*/ 0 w 4497210"/>
                  <a:gd name="connsiteY12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0 w 4497210"/>
                  <a:gd name="connsiteY11" fmla="*/ 2634022 h 2634022"/>
                  <a:gd name="connsiteX12" fmla="*/ 0 w 4497210"/>
                  <a:gd name="connsiteY12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0 w 4497210"/>
                  <a:gd name="connsiteY11" fmla="*/ 2634022 h 2634022"/>
                  <a:gd name="connsiteX12" fmla="*/ 0 w 4497210"/>
                  <a:gd name="connsiteY12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371785 w 4497210"/>
                  <a:gd name="connsiteY11" fmla="*/ 1777658 h 2634022"/>
                  <a:gd name="connsiteX12" fmla="*/ 0 w 4497210"/>
                  <a:gd name="connsiteY12" fmla="*/ 2634022 h 2634022"/>
                  <a:gd name="connsiteX13" fmla="*/ 0 w 4497210"/>
                  <a:gd name="connsiteY13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422077 w 4497210"/>
                  <a:gd name="connsiteY11" fmla="*/ 1261022 h 2634022"/>
                  <a:gd name="connsiteX12" fmla="*/ 0 w 4497210"/>
                  <a:gd name="connsiteY12" fmla="*/ 2634022 h 2634022"/>
                  <a:gd name="connsiteX13" fmla="*/ 0 w 4497210"/>
                  <a:gd name="connsiteY13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422077 w 4497210"/>
                  <a:gd name="connsiteY11" fmla="*/ 1261022 h 2634022"/>
                  <a:gd name="connsiteX12" fmla="*/ 0 w 4497210"/>
                  <a:gd name="connsiteY12" fmla="*/ 2634022 h 2634022"/>
                  <a:gd name="connsiteX13" fmla="*/ 0 w 4497210"/>
                  <a:gd name="connsiteY13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422077 w 4497210"/>
                  <a:gd name="connsiteY11" fmla="*/ 1261022 h 2634022"/>
                  <a:gd name="connsiteX12" fmla="*/ 0 w 4497210"/>
                  <a:gd name="connsiteY12" fmla="*/ 2634022 h 2634022"/>
                  <a:gd name="connsiteX13" fmla="*/ 0 w 4497210"/>
                  <a:gd name="connsiteY13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10113 w 4497210"/>
                  <a:gd name="connsiteY11" fmla="*/ 122444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380929 w 4497210"/>
                  <a:gd name="connsiteY12" fmla="*/ 1288454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380929 w 4497210"/>
                  <a:gd name="connsiteY12" fmla="*/ 1288454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435306"/>
                  <a:gd name="connsiteX1" fmla="*/ 2679960 w 4497210"/>
                  <a:gd name="connsiteY1" fmla="*/ 314328 h 2435306"/>
                  <a:gd name="connsiteX2" fmla="*/ 3148045 w 4497210"/>
                  <a:gd name="connsiteY2" fmla="*/ 74843 h 2435306"/>
                  <a:gd name="connsiteX3" fmla="*/ 3670531 w 4497210"/>
                  <a:gd name="connsiteY3" fmla="*/ 141224 h 2435306"/>
                  <a:gd name="connsiteX4" fmla="*/ 4394993 w 4497210"/>
                  <a:gd name="connsiteY4" fmla="*/ 934997 h 2435306"/>
                  <a:gd name="connsiteX5" fmla="*/ 4465217 w 4497210"/>
                  <a:gd name="connsiteY5" fmla="*/ 1348470 h 2435306"/>
                  <a:gd name="connsiteX6" fmla="*/ 4149532 w 4497210"/>
                  <a:gd name="connsiteY6" fmla="*/ 1725842 h 2435306"/>
                  <a:gd name="connsiteX7" fmla="*/ 3949958 w 4497210"/>
                  <a:gd name="connsiteY7" fmla="*/ 2324556 h 2435306"/>
                  <a:gd name="connsiteX8" fmla="*/ 3663300 w 4497210"/>
                  <a:gd name="connsiteY8" fmla="*/ 2408013 h 2435306"/>
                  <a:gd name="connsiteX9" fmla="*/ 2606225 w 4497210"/>
                  <a:gd name="connsiteY9" fmla="*/ 1401230 h 2435306"/>
                  <a:gd name="connsiteX10" fmla="*/ 2139881 w 4497210"/>
                  <a:gd name="connsiteY10" fmla="*/ 1302170 h 2435306"/>
                  <a:gd name="connsiteX11" fmla="*/ 1732973 w 4497210"/>
                  <a:gd name="connsiteY11" fmla="*/ 1247306 h 2435306"/>
                  <a:gd name="connsiteX12" fmla="*/ 1380929 w 4497210"/>
                  <a:gd name="connsiteY12" fmla="*/ 1288454 h 2435306"/>
                  <a:gd name="connsiteX13" fmla="*/ 438912 w 4497210"/>
                  <a:gd name="connsiteY13" fmla="*/ 1833922 h 2435306"/>
                  <a:gd name="connsiteX14" fmla="*/ 0 w 4497210"/>
                  <a:gd name="connsiteY14" fmla="*/ 21450 h 2435306"/>
                  <a:gd name="connsiteX0" fmla="*/ 0 w 4497210"/>
                  <a:gd name="connsiteY0" fmla="*/ 21450 h 2435306"/>
                  <a:gd name="connsiteX1" fmla="*/ 2679960 w 4497210"/>
                  <a:gd name="connsiteY1" fmla="*/ 314328 h 2435306"/>
                  <a:gd name="connsiteX2" fmla="*/ 3148045 w 4497210"/>
                  <a:gd name="connsiteY2" fmla="*/ 74843 h 2435306"/>
                  <a:gd name="connsiteX3" fmla="*/ 3670531 w 4497210"/>
                  <a:gd name="connsiteY3" fmla="*/ 141224 h 2435306"/>
                  <a:gd name="connsiteX4" fmla="*/ 4394993 w 4497210"/>
                  <a:gd name="connsiteY4" fmla="*/ 934997 h 2435306"/>
                  <a:gd name="connsiteX5" fmla="*/ 4465217 w 4497210"/>
                  <a:gd name="connsiteY5" fmla="*/ 1348470 h 2435306"/>
                  <a:gd name="connsiteX6" fmla="*/ 4149532 w 4497210"/>
                  <a:gd name="connsiteY6" fmla="*/ 1725842 h 2435306"/>
                  <a:gd name="connsiteX7" fmla="*/ 3949958 w 4497210"/>
                  <a:gd name="connsiteY7" fmla="*/ 2324556 h 2435306"/>
                  <a:gd name="connsiteX8" fmla="*/ 3663300 w 4497210"/>
                  <a:gd name="connsiteY8" fmla="*/ 2408013 h 2435306"/>
                  <a:gd name="connsiteX9" fmla="*/ 2606225 w 4497210"/>
                  <a:gd name="connsiteY9" fmla="*/ 1401230 h 2435306"/>
                  <a:gd name="connsiteX10" fmla="*/ 2139881 w 4497210"/>
                  <a:gd name="connsiteY10" fmla="*/ 1302170 h 2435306"/>
                  <a:gd name="connsiteX11" fmla="*/ 1732973 w 4497210"/>
                  <a:gd name="connsiteY11" fmla="*/ 1247306 h 2435306"/>
                  <a:gd name="connsiteX12" fmla="*/ 1380929 w 4497210"/>
                  <a:gd name="connsiteY12" fmla="*/ 1288454 h 2435306"/>
                  <a:gd name="connsiteX13" fmla="*/ 438912 w 4497210"/>
                  <a:gd name="connsiteY13" fmla="*/ 1833922 h 2435306"/>
                  <a:gd name="connsiteX14" fmla="*/ 0 w 4497210"/>
                  <a:gd name="connsiteY14" fmla="*/ 21450 h 2435306"/>
                  <a:gd name="connsiteX0" fmla="*/ 0 w 4497210"/>
                  <a:gd name="connsiteY0" fmla="*/ 21450 h 2435306"/>
                  <a:gd name="connsiteX1" fmla="*/ 2679960 w 4497210"/>
                  <a:gd name="connsiteY1" fmla="*/ 314328 h 2435306"/>
                  <a:gd name="connsiteX2" fmla="*/ 3148045 w 4497210"/>
                  <a:gd name="connsiteY2" fmla="*/ 74843 h 2435306"/>
                  <a:gd name="connsiteX3" fmla="*/ 3670531 w 4497210"/>
                  <a:gd name="connsiteY3" fmla="*/ 141224 h 2435306"/>
                  <a:gd name="connsiteX4" fmla="*/ 4394993 w 4497210"/>
                  <a:gd name="connsiteY4" fmla="*/ 934997 h 2435306"/>
                  <a:gd name="connsiteX5" fmla="*/ 4465217 w 4497210"/>
                  <a:gd name="connsiteY5" fmla="*/ 1348470 h 2435306"/>
                  <a:gd name="connsiteX6" fmla="*/ 4149532 w 4497210"/>
                  <a:gd name="connsiteY6" fmla="*/ 1725842 h 2435306"/>
                  <a:gd name="connsiteX7" fmla="*/ 3949958 w 4497210"/>
                  <a:gd name="connsiteY7" fmla="*/ 2324556 h 2435306"/>
                  <a:gd name="connsiteX8" fmla="*/ 3663300 w 4497210"/>
                  <a:gd name="connsiteY8" fmla="*/ 2408013 h 2435306"/>
                  <a:gd name="connsiteX9" fmla="*/ 2606225 w 4497210"/>
                  <a:gd name="connsiteY9" fmla="*/ 1401230 h 2435306"/>
                  <a:gd name="connsiteX10" fmla="*/ 2139881 w 4497210"/>
                  <a:gd name="connsiteY10" fmla="*/ 1302170 h 2435306"/>
                  <a:gd name="connsiteX11" fmla="*/ 1732973 w 4497210"/>
                  <a:gd name="connsiteY11" fmla="*/ 1247306 h 2435306"/>
                  <a:gd name="connsiteX12" fmla="*/ 1380929 w 4497210"/>
                  <a:gd name="connsiteY12" fmla="*/ 1288454 h 2435306"/>
                  <a:gd name="connsiteX13" fmla="*/ 438912 w 4497210"/>
                  <a:gd name="connsiteY13" fmla="*/ 1833922 h 2435306"/>
                  <a:gd name="connsiteX14" fmla="*/ 0 w 4497210"/>
                  <a:gd name="connsiteY14" fmla="*/ 21450 h 2435306"/>
                  <a:gd name="connsiteX0" fmla="*/ 0 w 4497210"/>
                  <a:gd name="connsiteY0" fmla="*/ 21450 h 2435306"/>
                  <a:gd name="connsiteX1" fmla="*/ 2679960 w 4497210"/>
                  <a:gd name="connsiteY1" fmla="*/ 314328 h 2435306"/>
                  <a:gd name="connsiteX2" fmla="*/ 3148045 w 4497210"/>
                  <a:gd name="connsiteY2" fmla="*/ 74843 h 2435306"/>
                  <a:gd name="connsiteX3" fmla="*/ 3670531 w 4497210"/>
                  <a:gd name="connsiteY3" fmla="*/ 141224 h 2435306"/>
                  <a:gd name="connsiteX4" fmla="*/ 4394993 w 4497210"/>
                  <a:gd name="connsiteY4" fmla="*/ 934997 h 2435306"/>
                  <a:gd name="connsiteX5" fmla="*/ 4465217 w 4497210"/>
                  <a:gd name="connsiteY5" fmla="*/ 1348470 h 2435306"/>
                  <a:gd name="connsiteX6" fmla="*/ 4149532 w 4497210"/>
                  <a:gd name="connsiteY6" fmla="*/ 1725842 h 2435306"/>
                  <a:gd name="connsiteX7" fmla="*/ 3949958 w 4497210"/>
                  <a:gd name="connsiteY7" fmla="*/ 2324556 h 2435306"/>
                  <a:gd name="connsiteX8" fmla="*/ 3663300 w 4497210"/>
                  <a:gd name="connsiteY8" fmla="*/ 2408013 h 2435306"/>
                  <a:gd name="connsiteX9" fmla="*/ 2606225 w 4497210"/>
                  <a:gd name="connsiteY9" fmla="*/ 1401230 h 2435306"/>
                  <a:gd name="connsiteX10" fmla="*/ 2139881 w 4497210"/>
                  <a:gd name="connsiteY10" fmla="*/ 1302170 h 2435306"/>
                  <a:gd name="connsiteX11" fmla="*/ 1732973 w 4497210"/>
                  <a:gd name="connsiteY11" fmla="*/ 1247306 h 2435306"/>
                  <a:gd name="connsiteX12" fmla="*/ 1380929 w 4497210"/>
                  <a:gd name="connsiteY12" fmla="*/ 1288454 h 2435306"/>
                  <a:gd name="connsiteX13" fmla="*/ 438912 w 4497210"/>
                  <a:gd name="connsiteY13" fmla="*/ 1833922 h 2435306"/>
                  <a:gd name="connsiteX14" fmla="*/ 210497 w 4497210"/>
                  <a:gd name="connsiteY14" fmla="*/ 904406 h 2435306"/>
                  <a:gd name="connsiteX15" fmla="*/ 0 w 4497210"/>
                  <a:gd name="connsiteY15" fmla="*/ 21450 h 2435306"/>
                  <a:gd name="connsiteX0" fmla="*/ 0 w 4497210"/>
                  <a:gd name="connsiteY0" fmla="*/ 21450 h 2435306"/>
                  <a:gd name="connsiteX1" fmla="*/ 2679960 w 4497210"/>
                  <a:gd name="connsiteY1" fmla="*/ 314328 h 2435306"/>
                  <a:gd name="connsiteX2" fmla="*/ 3148045 w 4497210"/>
                  <a:gd name="connsiteY2" fmla="*/ 74843 h 2435306"/>
                  <a:gd name="connsiteX3" fmla="*/ 3670531 w 4497210"/>
                  <a:gd name="connsiteY3" fmla="*/ 141224 h 2435306"/>
                  <a:gd name="connsiteX4" fmla="*/ 4394993 w 4497210"/>
                  <a:gd name="connsiteY4" fmla="*/ 934997 h 2435306"/>
                  <a:gd name="connsiteX5" fmla="*/ 4465217 w 4497210"/>
                  <a:gd name="connsiteY5" fmla="*/ 1348470 h 2435306"/>
                  <a:gd name="connsiteX6" fmla="*/ 4149532 w 4497210"/>
                  <a:gd name="connsiteY6" fmla="*/ 1725842 h 2435306"/>
                  <a:gd name="connsiteX7" fmla="*/ 3949958 w 4497210"/>
                  <a:gd name="connsiteY7" fmla="*/ 2324556 h 2435306"/>
                  <a:gd name="connsiteX8" fmla="*/ 3663300 w 4497210"/>
                  <a:gd name="connsiteY8" fmla="*/ 2408013 h 2435306"/>
                  <a:gd name="connsiteX9" fmla="*/ 2606225 w 4497210"/>
                  <a:gd name="connsiteY9" fmla="*/ 1401230 h 2435306"/>
                  <a:gd name="connsiteX10" fmla="*/ 2139881 w 4497210"/>
                  <a:gd name="connsiteY10" fmla="*/ 1302170 h 2435306"/>
                  <a:gd name="connsiteX11" fmla="*/ 1732973 w 4497210"/>
                  <a:gd name="connsiteY11" fmla="*/ 1247306 h 2435306"/>
                  <a:gd name="connsiteX12" fmla="*/ 1380929 w 4497210"/>
                  <a:gd name="connsiteY12" fmla="*/ 1288454 h 2435306"/>
                  <a:gd name="connsiteX13" fmla="*/ 438912 w 4497210"/>
                  <a:gd name="connsiteY13" fmla="*/ 1833922 h 2435306"/>
                  <a:gd name="connsiteX14" fmla="*/ 45905 w 4497210"/>
                  <a:gd name="connsiteY14" fmla="*/ 1393610 h 2435306"/>
                  <a:gd name="connsiteX15" fmla="*/ 0 w 4497210"/>
                  <a:gd name="connsiteY15" fmla="*/ 21450 h 2435306"/>
                  <a:gd name="connsiteX0" fmla="*/ 42359 w 4539569"/>
                  <a:gd name="connsiteY0" fmla="*/ 21450 h 2435306"/>
                  <a:gd name="connsiteX1" fmla="*/ 2722319 w 4539569"/>
                  <a:gd name="connsiteY1" fmla="*/ 314328 h 2435306"/>
                  <a:gd name="connsiteX2" fmla="*/ 3190404 w 4539569"/>
                  <a:gd name="connsiteY2" fmla="*/ 74843 h 2435306"/>
                  <a:gd name="connsiteX3" fmla="*/ 3712890 w 4539569"/>
                  <a:gd name="connsiteY3" fmla="*/ 141224 h 2435306"/>
                  <a:gd name="connsiteX4" fmla="*/ 4437352 w 4539569"/>
                  <a:gd name="connsiteY4" fmla="*/ 934997 h 2435306"/>
                  <a:gd name="connsiteX5" fmla="*/ 4507576 w 4539569"/>
                  <a:gd name="connsiteY5" fmla="*/ 1348470 h 2435306"/>
                  <a:gd name="connsiteX6" fmla="*/ 4191891 w 4539569"/>
                  <a:gd name="connsiteY6" fmla="*/ 1725842 h 2435306"/>
                  <a:gd name="connsiteX7" fmla="*/ 3992317 w 4539569"/>
                  <a:gd name="connsiteY7" fmla="*/ 2324556 h 2435306"/>
                  <a:gd name="connsiteX8" fmla="*/ 3705659 w 4539569"/>
                  <a:gd name="connsiteY8" fmla="*/ 2408013 h 2435306"/>
                  <a:gd name="connsiteX9" fmla="*/ 2648584 w 4539569"/>
                  <a:gd name="connsiteY9" fmla="*/ 1401230 h 2435306"/>
                  <a:gd name="connsiteX10" fmla="*/ 2182240 w 4539569"/>
                  <a:gd name="connsiteY10" fmla="*/ 1302170 h 2435306"/>
                  <a:gd name="connsiteX11" fmla="*/ 1775332 w 4539569"/>
                  <a:gd name="connsiteY11" fmla="*/ 1247306 h 2435306"/>
                  <a:gd name="connsiteX12" fmla="*/ 1423288 w 4539569"/>
                  <a:gd name="connsiteY12" fmla="*/ 1288454 h 2435306"/>
                  <a:gd name="connsiteX13" fmla="*/ 481271 w 4539569"/>
                  <a:gd name="connsiteY13" fmla="*/ 1833922 h 2435306"/>
                  <a:gd name="connsiteX14" fmla="*/ 88264 w 4539569"/>
                  <a:gd name="connsiteY14" fmla="*/ 1393610 h 2435306"/>
                  <a:gd name="connsiteX15" fmla="*/ 42359 w 4539569"/>
                  <a:gd name="connsiteY15" fmla="*/ 21450 h 2435306"/>
                  <a:gd name="connsiteX0" fmla="*/ 55431 w 4552641"/>
                  <a:gd name="connsiteY0" fmla="*/ 21450 h 2435306"/>
                  <a:gd name="connsiteX1" fmla="*/ 2735391 w 4552641"/>
                  <a:gd name="connsiteY1" fmla="*/ 314328 h 2435306"/>
                  <a:gd name="connsiteX2" fmla="*/ 3203476 w 4552641"/>
                  <a:gd name="connsiteY2" fmla="*/ 74843 h 2435306"/>
                  <a:gd name="connsiteX3" fmla="*/ 3725962 w 4552641"/>
                  <a:gd name="connsiteY3" fmla="*/ 141224 h 2435306"/>
                  <a:gd name="connsiteX4" fmla="*/ 4450424 w 4552641"/>
                  <a:gd name="connsiteY4" fmla="*/ 934997 h 2435306"/>
                  <a:gd name="connsiteX5" fmla="*/ 4520648 w 4552641"/>
                  <a:gd name="connsiteY5" fmla="*/ 1348470 h 2435306"/>
                  <a:gd name="connsiteX6" fmla="*/ 4204963 w 4552641"/>
                  <a:gd name="connsiteY6" fmla="*/ 1725842 h 2435306"/>
                  <a:gd name="connsiteX7" fmla="*/ 4005389 w 4552641"/>
                  <a:gd name="connsiteY7" fmla="*/ 2324556 h 2435306"/>
                  <a:gd name="connsiteX8" fmla="*/ 3718731 w 4552641"/>
                  <a:gd name="connsiteY8" fmla="*/ 2408013 h 2435306"/>
                  <a:gd name="connsiteX9" fmla="*/ 2661656 w 4552641"/>
                  <a:gd name="connsiteY9" fmla="*/ 1401230 h 2435306"/>
                  <a:gd name="connsiteX10" fmla="*/ 2195312 w 4552641"/>
                  <a:gd name="connsiteY10" fmla="*/ 1302170 h 2435306"/>
                  <a:gd name="connsiteX11" fmla="*/ 1788404 w 4552641"/>
                  <a:gd name="connsiteY11" fmla="*/ 1247306 h 2435306"/>
                  <a:gd name="connsiteX12" fmla="*/ 1436360 w 4552641"/>
                  <a:gd name="connsiteY12" fmla="*/ 1288454 h 2435306"/>
                  <a:gd name="connsiteX13" fmla="*/ 494343 w 4552641"/>
                  <a:gd name="connsiteY13" fmla="*/ 1833922 h 2435306"/>
                  <a:gd name="connsiteX14" fmla="*/ 101336 w 4552641"/>
                  <a:gd name="connsiteY14" fmla="*/ 1393610 h 2435306"/>
                  <a:gd name="connsiteX15" fmla="*/ 55431 w 4552641"/>
                  <a:gd name="connsiteY15" fmla="*/ 21450 h 2435306"/>
                  <a:gd name="connsiteX0" fmla="*/ 49771 w 4546981"/>
                  <a:gd name="connsiteY0" fmla="*/ 21450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49771 w 4546981"/>
                  <a:gd name="connsiteY15" fmla="*/ 21450 h 2435306"/>
                  <a:gd name="connsiteX0" fmla="*/ 1508239 w 4546981"/>
                  <a:gd name="connsiteY0" fmla="*/ 332346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1508239 w 4546981"/>
                  <a:gd name="connsiteY15" fmla="*/ 332346 h 2435306"/>
                  <a:gd name="connsiteX0" fmla="*/ 1252207 w 4546981"/>
                  <a:gd name="connsiteY0" fmla="*/ 483222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1252207 w 4546981"/>
                  <a:gd name="connsiteY15" fmla="*/ 483222 h 2435306"/>
                  <a:gd name="connsiteX0" fmla="*/ 1252207 w 4546981"/>
                  <a:gd name="connsiteY0" fmla="*/ 483222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1252207 w 4546981"/>
                  <a:gd name="connsiteY15" fmla="*/ 483222 h 2435306"/>
                  <a:gd name="connsiteX0" fmla="*/ 1252207 w 4546981"/>
                  <a:gd name="connsiteY0" fmla="*/ 483222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1252207 w 4546981"/>
                  <a:gd name="connsiteY15" fmla="*/ 483222 h 2435306"/>
                  <a:gd name="connsiteX0" fmla="*/ 1252207 w 4546981"/>
                  <a:gd name="connsiteY0" fmla="*/ 483222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1252207 w 4546981"/>
                  <a:gd name="connsiteY15" fmla="*/ 483222 h 2435306"/>
                  <a:gd name="connsiteX0" fmla="*/ 1232610 w 4527384"/>
                  <a:gd name="connsiteY0" fmla="*/ 483222 h 2435306"/>
                  <a:gd name="connsiteX1" fmla="*/ 2710134 w 4527384"/>
                  <a:gd name="connsiteY1" fmla="*/ 314328 h 2435306"/>
                  <a:gd name="connsiteX2" fmla="*/ 3178219 w 4527384"/>
                  <a:gd name="connsiteY2" fmla="*/ 74843 h 2435306"/>
                  <a:gd name="connsiteX3" fmla="*/ 3700705 w 4527384"/>
                  <a:gd name="connsiteY3" fmla="*/ 141224 h 2435306"/>
                  <a:gd name="connsiteX4" fmla="*/ 4425167 w 4527384"/>
                  <a:gd name="connsiteY4" fmla="*/ 934997 h 2435306"/>
                  <a:gd name="connsiteX5" fmla="*/ 4495391 w 4527384"/>
                  <a:gd name="connsiteY5" fmla="*/ 1348470 h 2435306"/>
                  <a:gd name="connsiteX6" fmla="*/ 4179706 w 4527384"/>
                  <a:gd name="connsiteY6" fmla="*/ 1725842 h 2435306"/>
                  <a:gd name="connsiteX7" fmla="*/ 3980132 w 4527384"/>
                  <a:gd name="connsiteY7" fmla="*/ 2324556 h 2435306"/>
                  <a:gd name="connsiteX8" fmla="*/ 3693474 w 4527384"/>
                  <a:gd name="connsiteY8" fmla="*/ 2408013 h 2435306"/>
                  <a:gd name="connsiteX9" fmla="*/ 2636399 w 4527384"/>
                  <a:gd name="connsiteY9" fmla="*/ 1401230 h 2435306"/>
                  <a:gd name="connsiteX10" fmla="*/ 2170055 w 4527384"/>
                  <a:gd name="connsiteY10" fmla="*/ 1302170 h 2435306"/>
                  <a:gd name="connsiteX11" fmla="*/ 1763147 w 4527384"/>
                  <a:gd name="connsiteY11" fmla="*/ 1247306 h 2435306"/>
                  <a:gd name="connsiteX12" fmla="*/ 1411103 w 4527384"/>
                  <a:gd name="connsiteY12" fmla="*/ 1288454 h 2435306"/>
                  <a:gd name="connsiteX13" fmla="*/ 469086 w 4527384"/>
                  <a:gd name="connsiteY13" fmla="*/ 1833922 h 2435306"/>
                  <a:gd name="connsiteX14" fmla="*/ 98939 w 4527384"/>
                  <a:gd name="connsiteY14" fmla="*/ 1347890 h 2435306"/>
                  <a:gd name="connsiteX15" fmla="*/ 1232610 w 4527384"/>
                  <a:gd name="connsiteY15" fmla="*/ 483222 h 2435306"/>
                  <a:gd name="connsiteX0" fmla="*/ 1247947 w 4542721"/>
                  <a:gd name="connsiteY0" fmla="*/ 483222 h 2435306"/>
                  <a:gd name="connsiteX1" fmla="*/ 2725471 w 4542721"/>
                  <a:gd name="connsiteY1" fmla="*/ 314328 h 2435306"/>
                  <a:gd name="connsiteX2" fmla="*/ 3193556 w 4542721"/>
                  <a:gd name="connsiteY2" fmla="*/ 74843 h 2435306"/>
                  <a:gd name="connsiteX3" fmla="*/ 3716042 w 4542721"/>
                  <a:gd name="connsiteY3" fmla="*/ 141224 h 2435306"/>
                  <a:gd name="connsiteX4" fmla="*/ 4440504 w 4542721"/>
                  <a:gd name="connsiteY4" fmla="*/ 934997 h 2435306"/>
                  <a:gd name="connsiteX5" fmla="*/ 4510728 w 4542721"/>
                  <a:gd name="connsiteY5" fmla="*/ 1348470 h 2435306"/>
                  <a:gd name="connsiteX6" fmla="*/ 4195043 w 4542721"/>
                  <a:gd name="connsiteY6" fmla="*/ 1725842 h 2435306"/>
                  <a:gd name="connsiteX7" fmla="*/ 3995469 w 4542721"/>
                  <a:gd name="connsiteY7" fmla="*/ 2324556 h 2435306"/>
                  <a:gd name="connsiteX8" fmla="*/ 3708811 w 4542721"/>
                  <a:gd name="connsiteY8" fmla="*/ 2408013 h 2435306"/>
                  <a:gd name="connsiteX9" fmla="*/ 2651736 w 4542721"/>
                  <a:gd name="connsiteY9" fmla="*/ 1401230 h 2435306"/>
                  <a:gd name="connsiteX10" fmla="*/ 2185392 w 4542721"/>
                  <a:gd name="connsiteY10" fmla="*/ 1302170 h 2435306"/>
                  <a:gd name="connsiteX11" fmla="*/ 1778484 w 4542721"/>
                  <a:gd name="connsiteY11" fmla="*/ 1247306 h 2435306"/>
                  <a:gd name="connsiteX12" fmla="*/ 1426440 w 4542721"/>
                  <a:gd name="connsiteY12" fmla="*/ 1288454 h 2435306"/>
                  <a:gd name="connsiteX13" fmla="*/ 484423 w 4542721"/>
                  <a:gd name="connsiteY13" fmla="*/ 1833922 h 2435306"/>
                  <a:gd name="connsiteX14" fmla="*/ 114276 w 4542721"/>
                  <a:gd name="connsiteY14" fmla="*/ 1347890 h 2435306"/>
                  <a:gd name="connsiteX15" fmla="*/ 1247947 w 4542721"/>
                  <a:gd name="connsiteY15" fmla="*/ 483222 h 2435306"/>
                  <a:gd name="connsiteX0" fmla="*/ 1246681 w 4541455"/>
                  <a:gd name="connsiteY0" fmla="*/ 483222 h 2435306"/>
                  <a:gd name="connsiteX1" fmla="*/ 2724205 w 4541455"/>
                  <a:gd name="connsiteY1" fmla="*/ 314328 h 2435306"/>
                  <a:gd name="connsiteX2" fmla="*/ 3192290 w 4541455"/>
                  <a:gd name="connsiteY2" fmla="*/ 74843 h 2435306"/>
                  <a:gd name="connsiteX3" fmla="*/ 3714776 w 4541455"/>
                  <a:gd name="connsiteY3" fmla="*/ 141224 h 2435306"/>
                  <a:gd name="connsiteX4" fmla="*/ 4439238 w 4541455"/>
                  <a:gd name="connsiteY4" fmla="*/ 934997 h 2435306"/>
                  <a:gd name="connsiteX5" fmla="*/ 4509462 w 4541455"/>
                  <a:gd name="connsiteY5" fmla="*/ 1348470 h 2435306"/>
                  <a:gd name="connsiteX6" fmla="*/ 4193777 w 4541455"/>
                  <a:gd name="connsiteY6" fmla="*/ 1725842 h 2435306"/>
                  <a:gd name="connsiteX7" fmla="*/ 3994203 w 4541455"/>
                  <a:gd name="connsiteY7" fmla="*/ 2324556 h 2435306"/>
                  <a:gd name="connsiteX8" fmla="*/ 3707545 w 4541455"/>
                  <a:gd name="connsiteY8" fmla="*/ 2408013 h 2435306"/>
                  <a:gd name="connsiteX9" fmla="*/ 2650470 w 4541455"/>
                  <a:gd name="connsiteY9" fmla="*/ 1401230 h 2435306"/>
                  <a:gd name="connsiteX10" fmla="*/ 2184126 w 4541455"/>
                  <a:gd name="connsiteY10" fmla="*/ 1302170 h 2435306"/>
                  <a:gd name="connsiteX11" fmla="*/ 1777218 w 4541455"/>
                  <a:gd name="connsiteY11" fmla="*/ 1247306 h 2435306"/>
                  <a:gd name="connsiteX12" fmla="*/ 1425174 w 4541455"/>
                  <a:gd name="connsiteY12" fmla="*/ 1288454 h 2435306"/>
                  <a:gd name="connsiteX13" fmla="*/ 483157 w 4541455"/>
                  <a:gd name="connsiteY13" fmla="*/ 1833922 h 2435306"/>
                  <a:gd name="connsiteX14" fmla="*/ 113010 w 4541455"/>
                  <a:gd name="connsiteY14" fmla="*/ 1347890 h 2435306"/>
                  <a:gd name="connsiteX15" fmla="*/ 1246681 w 4541455"/>
                  <a:gd name="connsiteY15" fmla="*/ 483222 h 2435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541455" h="2435306">
                    <a:moveTo>
                      <a:pt x="1246681" y="483222"/>
                    </a:moveTo>
                    <a:cubicBezTo>
                      <a:pt x="1835201" y="52020"/>
                      <a:pt x="2396289" y="311190"/>
                      <a:pt x="2724205" y="314328"/>
                    </a:cubicBezTo>
                    <a:cubicBezTo>
                      <a:pt x="2960062" y="331262"/>
                      <a:pt x="3047147" y="170395"/>
                      <a:pt x="3192290" y="74843"/>
                    </a:cubicBezTo>
                    <a:cubicBezTo>
                      <a:pt x="3383386" y="-77202"/>
                      <a:pt x="3592623" y="32011"/>
                      <a:pt x="3714776" y="141224"/>
                    </a:cubicBezTo>
                    <a:lnTo>
                      <a:pt x="4439238" y="934997"/>
                    </a:lnTo>
                    <a:cubicBezTo>
                      <a:pt x="4506189" y="1003878"/>
                      <a:pt x="4587654" y="1116304"/>
                      <a:pt x="4509462" y="1348470"/>
                    </a:cubicBezTo>
                    <a:cubicBezTo>
                      <a:pt x="4436891" y="1483937"/>
                      <a:pt x="4280862" y="1633916"/>
                      <a:pt x="4193777" y="1725842"/>
                    </a:cubicBezTo>
                    <a:cubicBezTo>
                      <a:pt x="4115158" y="1959280"/>
                      <a:pt x="4076451" y="2116518"/>
                      <a:pt x="3994203" y="2324556"/>
                    </a:cubicBezTo>
                    <a:cubicBezTo>
                      <a:pt x="3956707" y="2399546"/>
                      <a:pt x="3850270" y="2478166"/>
                      <a:pt x="3707545" y="2408013"/>
                    </a:cubicBezTo>
                    <a:lnTo>
                      <a:pt x="2650470" y="1401230"/>
                    </a:lnTo>
                    <a:cubicBezTo>
                      <a:pt x="2581890" y="1340778"/>
                      <a:pt x="2463018" y="1243750"/>
                      <a:pt x="2184126" y="1302170"/>
                    </a:cubicBezTo>
                    <a:cubicBezTo>
                      <a:pt x="2066778" y="1309282"/>
                      <a:pt x="1983720" y="1304456"/>
                      <a:pt x="1777218" y="1247306"/>
                    </a:cubicBezTo>
                    <a:cubicBezTo>
                      <a:pt x="1726164" y="1217588"/>
                      <a:pt x="1655329" y="1154109"/>
                      <a:pt x="1425174" y="1288454"/>
                    </a:cubicBezTo>
                    <a:cubicBezTo>
                      <a:pt x="932860" y="1563241"/>
                      <a:pt x="756015" y="1710011"/>
                      <a:pt x="483157" y="1833922"/>
                    </a:cubicBezTo>
                    <a:cubicBezTo>
                      <a:pt x="246999" y="1938611"/>
                      <a:pt x="-213188" y="1691257"/>
                      <a:pt x="113010" y="1347890"/>
                    </a:cubicBezTo>
                    <a:lnTo>
                      <a:pt x="1246681" y="483222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" name="Rectangle 2"/>
              <p:cNvSpPr/>
              <p:nvPr/>
            </p:nvSpPr>
            <p:spPr>
              <a:xfrm>
                <a:off x="6323021" y="4917479"/>
                <a:ext cx="106329" cy="105709"/>
              </a:xfrm>
              <a:custGeom>
                <a:avLst/>
                <a:gdLst>
                  <a:gd name="connsiteX0" fmla="*/ 0 w 2013626"/>
                  <a:gd name="connsiteY0" fmla="*/ 0 h 1327826"/>
                  <a:gd name="connsiteX1" fmla="*/ 2013626 w 2013626"/>
                  <a:gd name="connsiteY1" fmla="*/ 0 h 1327826"/>
                  <a:gd name="connsiteX2" fmla="*/ 2013626 w 2013626"/>
                  <a:gd name="connsiteY2" fmla="*/ 1327826 h 1327826"/>
                  <a:gd name="connsiteX3" fmla="*/ 0 w 2013626"/>
                  <a:gd name="connsiteY3" fmla="*/ 1327826 h 1327826"/>
                  <a:gd name="connsiteX4" fmla="*/ 0 w 2013626"/>
                  <a:gd name="connsiteY4" fmla="*/ 0 h 1327826"/>
                  <a:gd name="connsiteX0" fmla="*/ 311285 w 2324911"/>
                  <a:gd name="connsiteY0" fmla="*/ 0 h 1347281"/>
                  <a:gd name="connsiteX1" fmla="*/ 2324911 w 2324911"/>
                  <a:gd name="connsiteY1" fmla="*/ 0 h 1347281"/>
                  <a:gd name="connsiteX2" fmla="*/ 2324911 w 2324911"/>
                  <a:gd name="connsiteY2" fmla="*/ 1327826 h 1347281"/>
                  <a:gd name="connsiteX3" fmla="*/ 0 w 2324911"/>
                  <a:gd name="connsiteY3" fmla="*/ 1347281 h 1347281"/>
                  <a:gd name="connsiteX4" fmla="*/ 311285 w 2324911"/>
                  <a:gd name="connsiteY4" fmla="*/ 0 h 1347281"/>
                  <a:gd name="connsiteX0" fmla="*/ 38911 w 2324911"/>
                  <a:gd name="connsiteY0" fmla="*/ 768486 h 1347281"/>
                  <a:gd name="connsiteX1" fmla="*/ 2324911 w 2324911"/>
                  <a:gd name="connsiteY1" fmla="*/ 0 h 1347281"/>
                  <a:gd name="connsiteX2" fmla="*/ 2324911 w 2324911"/>
                  <a:gd name="connsiteY2" fmla="*/ 1327826 h 1347281"/>
                  <a:gd name="connsiteX3" fmla="*/ 0 w 2324911"/>
                  <a:gd name="connsiteY3" fmla="*/ 1347281 h 1347281"/>
                  <a:gd name="connsiteX4" fmla="*/ 38911 w 2324911"/>
                  <a:gd name="connsiteY4" fmla="*/ 768486 h 1347281"/>
                  <a:gd name="connsiteX0" fmla="*/ 38911 w 2324911"/>
                  <a:gd name="connsiteY0" fmla="*/ 972767 h 1551562"/>
                  <a:gd name="connsiteX1" fmla="*/ 928992 w 2324911"/>
                  <a:gd name="connsiteY1" fmla="*/ 0 h 1551562"/>
                  <a:gd name="connsiteX2" fmla="*/ 2324911 w 2324911"/>
                  <a:gd name="connsiteY2" fmla="*/ 1532107 h 1551562"/>
                  <a:gd name="connsiteX3" fmla="*/ 0 w 2324911"/>
                  <a:gd name="connsiteY3" fmla="*/ 1551562 h 1551562"/>
                  <a:gd name="connsiteX4" fmla="*/ 38911 w 2324911"/>
                  <a:gd name="connsiteY4" fmla="*/ 972767 h 1551562"/>
                  <a:gd name="connsiteX0" fmla="*/ 38911 w 1585609"/>
                  <a:gd name="connsiteY0" fmla="*/ 982494 h 1561289"/>
                  <a:gd name="connsiteX1" fmla="*/ 928992 w 1585609"/>
                  <a:gd name="connsiteY1" fmla="*/ 9727 h 1561289"/>
                  <a:gd name="connsiteX2" fmla="*/ 1585609 w 1585609"/>
                  <a:gd name="connsiteY2" fmla="*/ 0 h 1561289"/>
                  <a:gd name="connsiteX3" fmla="*/ 0 w 1585609"/>
                  <a:gd name="connsiteY3" fmla="*/ 1561289 h 1561289"/>
                  <a:gd name="connsiteX4" fmla="*/ 38911 w 1585609"/>
                  <a:gd name="connsiteY4" fmla="*/ 982494 h 1561289"/>
                  <a:gd name="connsiteX0" fmla="*/ 38911 w 1585609"/>
                  <a:gd name="connsiteY0" fmla="*/ 982494 h 1561289"/>
                  <a:gd name="connsiteX1" fmla="*/ 928992 w 1585609"/>
                  <a:gd name="connsiteY1" fmla="*/ 9727 h 1561289"/>
                  <a:gd name="connsiteX2" fmla="*/ 1585609 w 1585609"/>
                  <a:gd name="connsiteY2" fmla="*/ 0 h 1561289"/>
                  <a:gd name="connsiteX3" fmla="*/ 1181912 w 1585609"/>
                  <a:gd name="connsiteY3" fmla="*/ 384243 h 1561289"/>
                  <a:gd name="connsiteX4" fmla="*/ 0 w 1585609"/>
                  <a:gd name="connsiteY4" fmla="*/ 1561289 h 1561289"/>
                  <a:gd name="connsiteX5" fmla="*/ 38911 w 1585609"/>
                  <a:gd name="connsiteY5" fmla="*/ 982494 h 1561289"/>
                  <a:gd name="connsiteX0" fmla="*/ 38911 w 2490282"/>
                  <a:gd name="connsiteY0" fmla="*/ 982494 h 1561289"/>
                  <a:gd name="connsiteX1" fmla="*/ 928992 w 2490282"/>
                  <a:gd name="connsiteY1" fmla="*/ 9727 h 1561289"/>
                  <a:gd name="connsiteX2" fmla="*/ 1585609 w 2490282"/>
                  <a:gd name="connsiteY2" fmla="*/ 0 h 1561289"/>
                  <a:gd name="connsiteX3" fmla="*/ 2490282 w 2490282"/>
                  <a:gd name="connsiteY3" fmla="*/ 131323 h 1561289"/>
                  <a:gd name="connsiteX4" fmla="*/ 0 w 2490282"/>
                  <a:gd name="connsiteY4" fmla="*/ 1561289 h 1561289"/>
                  <a:gd name="connsiteX5" fmla="*/ 38911 w 2490282"/>
                  <a:gd name="connsiteY5" fmla="*/ 982494 h 1561289"/>
                  <a:gd name="connsiteX0" fmla="*/ 38911 w 2490282"/>
                  <a:gd name="connsiteY0" fmla="*/ 982494 h 1561289"/>
                  <a:gd name="connsiteX1" fmla="*/ 928992 w 2490282"/>
                  <a:gd name="connsiteY1" fmla="*/ 9727 h 1561289"/>
                  <a:gd name="connsiteX2" fmla="*/ 1585609 w 2490282"/>
                  <a:gd name="connsiteY2" fmla="*/ 0 h 1561289"/>
                  <a:gd name="connsiteX3" fmla="*/ 2490282 w 2490282"/>
                  <a:gd name="connsiteY3" fmla="*/ 131323 h 1561289"/>
                  <a:gd name="connsiteX4" fmla="*/ 1347281 w 2490282"/>
                  <a:gd name="connsiteY4" fmla="*/ 792805 h 1561289"/>
                  <a:gd name="connsiteX5" fmla="*/ 0 w 2490282"/>
                  <a:gd name="connsiteY5" fmla="*/ 1561289 h 1561289"/>
                  <a:gd name="connsiteX6" fmla="*/ 38911 w 2490282"/>
                  <a:gd name="connsiteY6" fmla="*/ 982494 h 1561289"/>
                  <a:gd name="connsiteX0" fmla="*/ 38911 w 2490282"/>
                  <a:gd name="connsiteY0" fmla="*/ 982494 h 1561289"/>
                  <a:gd name="connsiteX1" fmla="*/ 928992 w 2490282"/>
                  <a:gd name="connsiteY1" fmla="*/ 9727 h 1561289"/>
                  <a:gd name="connsiteX2" fmla="*/ 1585609 w 2490282"/>
                  <a:gd name="connsiteY2" fmla="*/ 0 h 1561289"/>
                  <a:gd name="connsiteX3" fmla="*/ 2490282 w 2490282"/>
                  <a:gd name="connsiteY3" fmla="*/ 131323 h 1561289"/>
                  <a:gd name="connsiteX4" fmla="*/ 1488332 w 2490282"/>
                  <a:gd name="connsiteY4" fmla="*/ 355060 h 1561289"/>
                  <a:gd name="connsiteX5" fmla="*/ 0 w 2490282"/>
                  <a:gd name="connsiteY5" fmla="*/ 1561289 h 1561289"/>
                  <a:gd name="connsiteX6" fmla="*/ 38911 w 2490282"/>
                  <a:gd name="connsiteY6" fmla="*/ 982494 h 1561289"/>
                  <a:gd name="connsiteX0" fmla="*/ 38911 w 2490282"/>
                  <a:gd name="connsiteY0" fmla="*/ 982494 h 1561289"/>
                  <a:gd name="connsiteX1" fmla="*/ 928992 w 2490282"/>
                  <a:gd name="connsiteY1" fmla="*/ 9727 h 1561289"/>
                  <a:gd name="connsiteX2" fmla="*/ 1585609 w 2490282"/>
                  <a:gd name="connsiteY2" fmla="*/ 0 h 1561289"/>
                  <a:gd name="connsiteX3" fmla="*/ 2490282 w 2490282"/>
                  <a:gd name="connsiteY3" fmla="*/ 131323 h 1561289"/>
                  <a:gd name="connsiteX4" fmla="*/ 1488332 w 2490282"/>
                  <a:gd name="connsiteY4" fmla="*/ 355060 h 1561289"/>
                  <a:gd name="connsiteX5" fmla="*/ 787940 w 2490282"/>
                  <a:gd name="connsiteY5" fmla="*/ 914401 h 1561289"/>
                  <a:gd name="connsiteX6" fmla="*/ 0 w 2490282"/>
                  <a:gd name="connsiteY6" fmla="*/ 1561289 h 1561289"/>
                  <a:gd name="connsiteX7" fmla="*/ 38911 w 2490282"/>
                  <a:gd name="connsiteY7" fmla="*/ 982494 h 1561289"/>
                  <a:gd name="connsiteX0" fmla="*/ 38911 w 2490282"/>
                  <a:gd name="connsiteY0" fmla="*/ 982494 h 1561289"/>
                  <a:gd name="connsiteX1" fmla="*/ 928992 w 2490282"/>
                  <a:gd name="connsiteY1" fmla="*/ 9727 h 1561289"/>
                  <a:gd name="connsiteX2" fmla="*/ 1585609 w 2490282"/>
                  <a:gd name="connsiteY2" fmla="*/ 0 h 1561289"/>
                  <a:gd name="connsiteX3" fmla="*/ 2490282 w 2490282"/>
                  <a:gd name="connsiteY3" fmla="*/ 131323 h 1561289"/>
                  <a:gd name="connsiteX4" fmla="*/ 1488332 w 2490282"/>
                  <a:gd name="connsiteY4" fmla="*/ 355060 h 1561289"/>
                  <a:gd name="connsiteX5" fmla="*/ 1070042 w 2490282"/>
                  <a:gd name="connsiteY5" fmla="*/ 306422 h 1561289"/>
                  <a:gd name="connsiteX6" fmla="*/ 0 w 2490282"/>
                  <a:gd name="connsiteY6" fmla="*/ 1561289 h 1561289"/>
                  <a:gd name="connsiteX7" fmla="*/ 38911 w 2490282"/>
                  <a:gd name="connsiteY7" fmla="*/ 982494 h 1561289"/>
                  <a:gd name="connsiteX0" fmla="*/ 53503 w 2504874"/>
                  <a:gd name="connsiteY0" fmla="*/ 982494 h 1532106"/>
                  <a:gd name="connsiteX1" fmla="*/ 943584 w 2504874"/>
                  <a:gd name="connsiteY1" fmla="*/ 9727 h 1532106"/>
                  <a:gd name="connsiteX2" fmla="*/ 1600201 w 2504874"/>
                  <a:gd name="connsiteY2" fmla="*/ 0 h 1532106"/>
                  <a:gd name="connsiteX3" fmla="*/ 2504874 w 2504874"/>
                  <a:gd name="connsiteY3" fmla="*/ 131323 h 1532106"/>
                  <a:gd name="connsiteX4" fmla="*/ 1502924 w 2504874"/>
                  <a:gd name="connsiteY4" fmla="*/ 355060 h 1532106"/>
                  <a:gd name="connsiteX5" fmla="*/ 1084634 w 2504874"/>
                  <a:gd name="connsiteY5" fmla="*/ 306422 h 1532106"/>
                  <a:gd name="connsiteX6" fmla="*/ 0 w 2504874"/>
                  <a:gd name="connsiteY6" fmla="*/ 1532106 h 1532106"/>
                  <a:gd name="connsiteX7" fmla="*/ 53503 w 2504874"/>
                  <a:gd name="connsiteY7" fmla="*/ 982494 h 1532106"/>
                  <a:gd name="connsiteX0" fmla="*/ 53503 w 2504874"/>
                  <a:gd name="connsiteY0" fmla="*/ 982494 h 1532106"/>
                  <a:gd name="connsiteX1" fmla="*/ 943584 w 2504874"/>
                  <a:gd name="connsiteY1" fmla="*/ 9727 h 1532106"/>
                  <a:gd name="connsiteX2" fmla="*/ 1600201 w 2504874"/>
                  <a:gd name="connsiteY2" fmla="*/ 0 h 1532106"/>
                  <a:gd name="connsiteX3" fmla="*/ 2504874 w 2504874"/>
                  <a:gd name="connsiteY3" fmla="*/ 131323 h 1532106"/>
                  <a:gd name="connsiteX4" fmla="*/ 1502924 w 2504874"/>
                  <a:gd name="connsiteY4" fmla="*/ 355060 h 1532106"/>
                  <a:gd name="connsiteX5" fmla="*/ 1084634 w 2504874"/>
                  <a:gd name="connsiteY5" fmla="*/ 306422 h 1532106"/>
                  <a:gd name="connsiteX6" fmla="*/ 252920 w 2504874"/>
                  <a:gd name="connsiteY6" fmla="*/ 1245141 h 1532106"/>
                  <a:gd name="connsiteX7" fmla="*/ 0 w 2504874"/>
                  <a:gd name="connsiteY7" fmla="*/ 1532106 h 1532106"/>
                  <a:gd name="connsiteX8" fmla="*/ 53503 w 2504874"/>
                  <a:gd name="connsiteY8" fmla="*/ 982494 h 1532106"/>
                  <a:gd name="connsiteX0" fmla="*/ 53503 w 2504874"/>
                  <a:gd name="connsiteY0" fmla="*/ 982494 h 1532106"/>
                  <a:gd name="connsiteX1" fmla="*/ 943584 w 2504874"/>
                  <a:gd name="connsiteY1" fmla="*/ 9727 h 1532106"/>
                  <a:gd name="connsiteX2" fmla="*/ 1600201 w 2504874"/>
                  <a:gd name="connsiteY2" fmla="*/ 0 h 1532106"/>
                  <a:gd name="connsiteX3" fmla="*/ 2504874 w 2504874"/>
                  <a:gd name="connsiteY3" fmla="*/ 131323 h 1532106"/>
                  <a:gd name="connsiteX4" fmla="*/ 1502924 w 2504874"/>
                  <a:gd name="connsiteY4" fmla="*/ 355060 h 1532106"/>
                  <a:gd name="connsiteX5" fmla="*/ 1084634 w 2504874"/>
                  <a:gd name="connsiteY5" fmla="*/ 306422 h 1532106"/>
                  <a:gd name="connsiteX6" fmla="*/ 355060 w 2504874"/>
                  <a:gd name="connsiteY6" fmla="*/ 1425102 h 1532106"/>
                  <a:gd name="connsiteX7" fmla="*/ 0 w 2504874"/>
                  <a:gd name="connsiteY7" fmla="*/ 1532106 h 1532106"/>
                  <a:gd name="connsiteX8" fmla="*/ 53503 w 2504874"/>
                  <a:gd name="connsiteY8" fmla="*/ 982494 h 1532106"/>
                  <a:gd name="connsiteX0" fmla="*/ 53503 w 2504874"/>
                  <a:gd name="connsiteY0" fmla="*/ 982494 h 1532106"/>
                  <a:gd name="connsiteX1" fmla="*/ 943584 w 2504874"/>
                  <a:gd name="connsiteY1" fmla="*/ 9727 h 1532106"/>
                  <a:gd name="connsiteX2" fmla="*/ 1600201 w 2504874"/>
                  <a:gd name="connsiteY2" fmla="*/ 0 h 1532106"/>
                  <a:gd name="connsiteX3" fmla="*/ 2504874 w 2504874"/>
                  <a:gd name="connsiteY3" fmla="*/ 131323 h 1532106"/>
                  <a:gd name="connsiteX4" fmla="*/ 1502924 w 2504874"/>
                  <a:gd name="connsiteY4" fmla="*/ 355060 h 1532106"/>
                  <a:gd name="connsiteX5" fmla="*/ 1084634 w 2504874"/>
                  <a:gd name="connsiteY5" fmla="*/ 306422 h 1532106"/>
                  <a:gd name="connsiteX6" fmla="*/ 355060 w 2504874"/>
                  <a:gd name="connsiteY6" fmla="*/ 1118680 h 1532106"/>
                  <a:gd name="connsiteX7" fmla="*/ 0 w 2504874"/>
                  <a:gd name="connsiteY7" fmla="*/ 1532106 h 1532106"/>
                  <a:gd name="connsiteX8" fmla="*/ 53503 w 2504874"/>
                  <a:gd name="connsiteY8" fmla="*/ 982494 h 1532106"/>
                  <a:gd name="connsiteX0" fmla="*/ 93644 w 2545015"/>
                  <a:gd name="connsiteY0" fmla="*/ 982494 h 1532106"/>
                  <a:gd name="connsiteX1" fmla="*/ 983725 w 2545015"/>
                  <a:gd name="connsiteY1" fmla="*/ 9727 h 1532106"/>
                  <a:gd name="connsiteX2" fmla="*/ 1640342 w 2545015"/>
                  <a:gd name="connsiteY2" fmla="*/ 0 h 1532106"/>
                  <a:gd name="connsiteX3" fmla="*/ 2545015 w 2545015"/>
                  <a:gd name="connsiteY3" fmla="*/ 131323 h 1532106"/>
                  <a:gd name="connsiteX4" fmla="*/ 1543065 w 2545015"/>
                  <a:gd name="connsiteY4" fmla="*/ 355060 h 1532106"/>
                  <a:gd name="connsiteX5" fmla="*/ 1124775 w 2545015"/>
                  <a:gd name="connsiteY5" fmla="*/ 306422 h 1532106"/>
                  <a:gd name="connsiteX6" fmla="*/ 395201 w 2545015"/>
                  <a:gd name="connsiteY6" fmla="*/ 1118680 h 1532106"/>
                  <a:gd name="connsiteX7" fmla="*/ 40141 w 2545015"/>
                  <a:gd name="connsiteY7" fmla="*/ 1532106 h 1532106"/>
                  <a:gd name="connsiteX8" fmla="*/ 93644 w 2545015"/>
                  <a:gd name="connsiteY8" fmla="*/ 982494 h 1532106"/>
                  <a:gd name="connsiteX0" fmla="*/ 96072 w 2547443"/>
                  <a:gd name="connsiteY0" fmla="*/ 982494 h 1532106"/>
                  <a:gd name="connsiteX1" fmla="*/ 986153 w 2547443"/>
                  <a:gd name="connsiteY1" fmla="*/ 9727 h 1532106"/>
                  <a:gd name="connsiteX2" fmla="*/ 1642770 w 2547443"/>
                  <a:gd name="connsiteY2" fmla="*/ 0 h 1532106"/>
                  <a:gd name="connsiteX3" fmla="*/ 2547443 w 2547443"/>
                  <a:gd name="connsiteY3" fmla="*/ 131323 h 1532106"/>
                  <a:gd name="connsiteX4" fmla="*/ 1545493 w 2547443"/>
                  <a:gd name="connsiteY4" fmla="*/ 355060 h 1532106"/>
                  <a:gd name="connsiteX5" fmla="*/ 1127203 w 2547443"/>
                  <a:gd name="connsiteY5" fmla="*/ 306422 h 1532106"/>
                  <a:gd name="connsiteX6" fmla="*/ 397629 w 2547443"/>
                  <a:gd name="connsiteY6" fmla="*/ 1118680 h 1532106"/>
                  <a:gd name="connsiteX7" fmla="*/ 42569 w 2547443"/>
                  <a:gd name="connsiteY7" fmla="*/ 1532106 h 1532106"/>
                  <a:gd name="connsiteX8" fmla="*/ 96072 w 2547443"/>
                  <a:gd name="connsiteY8" fmla="*/ 982494 h 1532106"/>
                  <a:gd name="connsiteX0" fmla="*/ 96072 w 2547443"/>
                  <a:gd name="connsiteY0" fmla="*/ 982494 h 1677790"/>
                  <a:gd name="connsiteX1" fmla="*/ 986153 w 2547443"/>
                  <a:gd name="connsiteY1" fmla="*/ 9727 h 1677790"/>
                  <a:gd name="connsiteX2" fmla="*/ 1642770 w 2547443"/>
                  <a:gd name="connsiteY2" fmla="*/ 0 h 1677790"/>
                  <a:gd name="connsiteX3" fmla="*/ 2547443 w 2547443"/>
                  <a:gd name="connsiteY3" fmla="*/ 131323 h 1677790"/>
                  <a:gd name="connsiteX4" fmla="*/ 1545493 w 2547443"/>
                  <a:gd name="connsiteY4" fmla="*/ 355060 h 1677790"/>
                  <a:gd name="connsiteX5" fmla="*/ 1127203 w 2547443"/>
                  <a:gd name="connsiteY5" fmla="*/ 306422 h 1677790"/>
                  <a:gd name="connsiteX6" fmla="*/ 397629 w 2547443"/>
                  <a:gd name="connsiteY6" fmla="*/ 1118680 h 1677790"/>
                  <a:gd name="connsiteX7" fmla="*/ 42569 w 2547443"/>
                  <a:gd name="connsiteY7" fmla="*/ 1532106 h 1677790"/>
                  <a:gd name="connsiteX8" fmla="*/ 96072 w 2547443"/>
                  <a:gd name="connsiteY8" fmla="*/ 982494 h 1677790"/>
                  <a:gd name="connsiteX0" fmla="*/ 96072 w 2547443"/>
                  <a:gd name="connsiteY0" fmla="*/ 982494 h 1552660"/>
                  <a:gd name="connsiteX1" fmla="*/ 986153 w 2547443"/>
                  <a:gd name="connsiteY1" fmla="*/ 9727 h 1552660"/>
                  <a:gd name="connsiteX2" fmla="*/ 1642770 w 2547443"/>
                  <a:gd name="connsiteY2" fmla="*/ 0 h 1552660"/>
                  <a:gd name="connsiteX3" fmla="*/ 2547443 w 2547443"/>
                  <a:gd name="connsiteY3" fmla="*/ 131323 h 1552660"/>
                  <a:gd name="connsiteX4" fmla="*/ 1545493 w 2547443"/>
                  <a:gd name="connsiteY4" fmla="*/ 355060 h 1552660"/>
                  <a:gd name="connsiteX5" fmla="*/ 1127203 w 2547443"/>
                  <a:gd name="connsiteY5" fmla="*/ 306422 h 1552660"/>
                  <a:gd name="connsiteX6" fmla="*/ 397629 w 2547443"/>
                  <a:gd name="connsiteY6" fmla="*/ 1118680 h 1552660"/>
                  <a:gd name="connsiteX7" fmla="*/ 344128 w 2547443"/>
                  <a:gd name="connsiteY7" fmla="*/ 1405647 h 1552660"/>
                  <a:gd name="connsiteX8" fmla="*/ 42569 w 2547443"/>
                  <a:gd name="connsiteY8" fmla="*/ 1532106 h 1552660"/>
                  <a:gd name="connsiteX9" fmla="*/ 96072 w 2547443"/>
                  <a:gd name="connsiteY9" fmla="*/ 982494 h 1552660"/>
                  <a:gd name="connsiteX0" fmla="*/ 96072 w 2547443"/>
                  <a:gd name="connsiteY0" fmla="*/ 982494 h 1554370"/>
                  <a:gd name="connsiteX1" fmla="*/ 986153 w 2547443"/>
                  <a:gd name="connsiteY1" fmla="*/ 9727 h 1554370"/>
                  <a:gd name="connsiteX2" fmla="*/ 1642770 w 2547443"/>
                  <a:gd name="connsiteY2" fmla="*/ 0 h 1554370"/>
                  <a:gd name="connsiteX3" fmla="*/ 2547443 w 2547443"/>
                  <a:gd name="connsiteY3" fmla="*/ 131323 h 1554370"/>
                  <a:gd name="connsiteX4" fmla="*/ 1545493 w 2547443"/>
                  <a:gd name="connsiteY4" fmla="*/ 355060 h 1554370"/>
                  <a:gd name="connsiteX5" fmla="*/ 1127203 w 2547443"/>
                  <a:gd name="connsiteY5" fmla="*/ 306422 h 1554370"/>
                  <a:gd name="connsiteX6" fmla="*/ 397629 w 2547443"/>
                  <a:gd name="connsiteY6" fmla="*/ 1118680 h 1554370"/>
                  <a:gd name="connsiteX7" fmla="*/ 378175 w 2547443"/>
                  <a:gd name="connsiteY7" fmla="*/ 1420238 h 1554370"/>
                  <a:gd name="connsiteX8" fmla="*/ 42569 w 2547443"/>
                  <a:gd name="connsiteY8" fmla="*/ 1532106 h 1554370"/>
                  <a:gd name="connsiteX9" fmla="*/ 96072 w 2547443"/>
                  <a:gd name="connsiteY9" fmla="*/ 982494 h 1554370"/>
                  <a:gd name="connsiteX0" fmla="*/ 96072 w 2547443"/>
                  <a:gd name="connsiteY0" fmla="*/ 982494 h 1554370"/>
                  <a:gd name="connsiteX1" fmla="*/ 986153 w 2547443"/>
                  <a:gd name="connsiteY1" fmla="*/ 9727 h 1554370"/>
                  <a:gd name="connsiteX2" fmla="*/ 1642770 w 2547443"/>
                  <a:gd name="connsiteY2" fmla="*/ 0 h 1554370"/>
                  <a:gd name="connsiteX3" fmla="*/ 2547443 w 2547443"/>
                  <a:gd name="connsiteY3" fmla="*/ 131323 h 1554370"/>
                  <a:gd name="connsiteX4" fmla="*/ 1545493 w 2547443"/>
                  <a:gd name="connsiteY4" fmla="*/ 355060 h 1554370"/>
                  <a:gd name="connsiteX5" fmla="*/ 1127203 w 2547443"/>
                  <a:gd name="connsiteY5" fmla="*/ 306422 h 1554370"/>
                  <a:gd name="connsiteX6" fmla="*/ 397629 w 2547443"/>
                  <a:gd name="connsiteY6" fmla="*/ 1118680 h 1554370"/>
                  <a:gd name="connsiteX7" fmla="*/ 378175 w 2547443"/>
                  <a:gd name="connsiteY7" fmla="*/ 1420238 h 1554370"/>
                  <a:gd name="connsiteX8" fmla="*/ 42569 w 2547443"/>
                  <a:gd name="connsiteY8" fmla="*/ 1532106 h 1554370"/>
                  <a:gd name="connsiteX9" fmla="*/ 96072 w 2547443"/>
                  <a:gd name="connsiteY9" fmla="*/ 982494 h 1554370"/>
                  <a:gd name="connsiteX0" fmla="*/ 96072 w 2547443"/>
                  <a:gd name="connsiteY0" fmla="*/ 982494 h 1554370"/>
                  <a:gd name="connsiteX1" fmla="*/ 986153 w 2547443"/>
                  <a:gd name="connsiteY1" fmla="*/ 9727 h 1554370"/>
                  <a:gd name="connsiteX2" fmla="*/ 1642770 w 2547443"/>
                  <a:gd name="connsiteY2" fmla="*/ 0 h 1554370"/>
                  <a:gd name="connsiteX3" fmla="*/ 2547443 w 2547443"/>
                  <a:gd name="connsiteY3" fmla="*/ 131323 h 1554370"/>
                  <a:gd name="connsiteX4" fmla="*/ 1545493 w 2547443"/>
                  <a:gd name="connsiteY4" fmla="*/ 355060 h 1554370"/>
                  <a:gd name="connsiteX5" fmla="*/ 1127203 w 2547443"/>
                  <a:gd name="connsiteY5" fmla="*/ 306422 h 1554370"/>
                  <a:gd name="connsiteX6" fmla="*/ 397629 w 2547443"/>
                  <a:gd name="connsiteY6" fmla="*/ 1118680 h 1554370"/>
                  <a:gd name="connsiteX7" fmla="*/ 378175 w 2547443"/>
                  <a:gd name="connsiteY7" fmla="*/ 1420238 h 1554370"/>
                  <a:gd name="connsiteX8" fmla="*/ 42569 w 2547443"/>
                  <a:gd name="connsiteY8" fmla="*/ 1532106 h 1554370"/>
                  <a:gd name="connsiteX9" fmla="*/ 96072 w 2547443"/>
                  <a:gd name="connsiteY9" fmla="*/ 982494 h 1554370"/>
                  <a:gd name="connsiteX0" fmla="*/ 96072 w 2547443"/>
                  <a:gd name="connsiteY0" fmla="*/ 982494 h 1572098"/>
                  <a:gd name="connsiteX1" fmla="*/ 986153 w 2547443"/>
                  <a:gd name="connsiteY1" fmla="*/ 9727 h 1572098"/>
                  <a:gd name="connsiteX2" fmla="*/ 1642770 w 2547443"/>
                  <a:gd name="connsiteY2" fmla="*/ 0 h 1572098"/>
                  <a:gd name="connsiteX3" fmla="*/ 2547443 w 2547443"/>
                  <a:gd name="connsiteY3" fmla="*/ 131323 h 1572098"/>
                  <a:gd name="connsiteX4" fmla="*/ 1545493 w 2547443"/>
                  <a:gd name="connsiteY4" fmla="*/ 355060 h 1572098"/>
                  <a:gd name="connsiteX5" fmla="*/ 1127203 w 2547443"/>
                  <a:gd name="connsiteY5" fmla="*/ 306422 h 1572098"/>
                  <a:gd name="connsiteX6" fmla="*/ 397629 w 2547443"/>
                  <a:gd name="connsiteY6" fmla="*/ 1118680 h 1572098"/>
                  <a:gd name="connsiteX7" fmla="*/ 378175 w 2547443"/>
                  <a:gd name="connsiteY7" fmla="*/ 1420238 h 1572098"/>
                  <a:gd name="connsiteX8" fmla="*/ 246851 w 2547443"/>
                  <a:gd name="connsiteY8" fmla="*/ 1517516 h 1572098"/>
                  <a:gd name="connsiteX9" fmla="*/ 42569 w 2547443"/>
                  <a:gd name="connsiteY9" fmla="*/ 1532106 h 1572098"/>
                  <a:gd name="connsiteX10" fmla="*/ 96072 w 2547443"/>
                  <a:gd name="connsiteY10" fmla="*/ 982494 h 1572098"/>
                  <a:gd name="connsiteX0" fmla="*/ 96072 w 2547443"/>
                  <a:gd name="connsiteY0" fmla="*/ 982494 h 2135699"/>
                  <a:gd name="connsiteX1" fmla="*/ 986153 w 2547443"/>
                  <a:gd name="connsiteY1" fmla="*/ 9727 h 2135699"/>
                  <a:gd name="connsiteX2" fmla="*/ 1642770 w 2547443"/>
                  <a:gd name="connsiteY2" fmla="*/ 0 h 2135699"/>
                  <a:gd name="connsiteX3" fmla="*/ 2547443 w 2547443"/>
                  <a:gd name="connsiteY3" fmla="*/ 131323 h 2135699"/>
                  <a:gd name="connsiteX4" fmla="*/ 1545493 w 2547443"/>
                  <a:gd name="connsiteY4" fmla="*/ 355060 h 2135699"/>
                  <a:gd name="connsiteX5" fmla="*/ 1127203 w 2547443"/>
                  <a:gd name="connsiteY5" fmla="*/ 306422 h 2135699"/>
                  <a:gd name="connsiteX6" fmla="*/ 397629 w 2547443"/>
                  <a:gd name="connsiteY6" fmla="*/ 1118680 h 2135699"/>
                  <a:gd name="connsiteX7" fmla="*/ 378175 w 2547443"/>
                  <a:gd name="connsiteY7" fmla="*/ 1420238 h 2135699"/>
                  <a:gd name="connsiteX8" fmla="*/ 694323 w 2547443"/>
                  <a:gd name="connsiteY8" fmla="*/ 2135222 h 2135699"/>
                  <a:gd name="connsiteX9" fmla="*/ 42569 w 2547443"/>
                  <a:gd name="connsiteY9" fmla="*/ 1532106 h 2135699"/>
                  <a:gd name="connsiteX10" fmla="*/ 96072 w 2547443"/>
                  <a:gd name="connsiteY10" fmla="*/ 982494 h 2135699"/>
                  <a:gd name="connsiteX0" fmla="*/ 96072 w 2547443"/>
                  <a:gd name="connsiteY0" fmla="*/ 982494 h 2694798"/>
                  <a:gd name="connsiteX1" fmla="*/ 986153 w 2547443"/>
                  <a:gd name="connsiteY1" fmla="*/ 9727 h 2694798"/>
                  <a:gd name="connsiteX2" fmla="*/ 1642770 w 2547443"/>
                  <a:gd name="connsiteY2" fmla="*/ 0 h 2694798"/>
                  <a:gd name="connsiteX3" fmla="*/ 2547443 w 2547443"/>
                  <a:gd name="connsiteY3" fmla="*/ 131323 h 2694798"/>
                  <a:gd name="connsiteX4" fmla="*/ 1545493 w 2547443"/>
                  <a:gd name="connsiteY4" fmla="*/ 355060 h 2694798"/>
                  <a:gd name="connsiteX5" fmla="*/ 1127203 w 2547443"/>
                  <a:gd name="connsiteY5" fmla="*/ 306422 h 2694798"/>
                  <a:gd name="connsiteX6" fmla="*/ 397629 w 2547443"/>
                  <a:gd name="connsiteY6" fmla="*/ 1118680 h 2694798"/>
                  <a:gd name="connsiteX7" fmla="*/ 378175 w 2547443"/>
                  <a:gd name="connsiteY7" fmla="*/ 1420238 h 2694798"/>
                  <a:gd name="connsiteX8" fmla="*/ 694323 w 2547443"/>
                  <a:gd name="connsiteY8" fmla="*/ 2694562 h 2694798"/>
                  <a:gd name="connsiteX9" fmla="*/ 42569 w 2547443"/>
                  <a:gd name="connsiteY9" fmla="*/ 1532106 h 2694798"/>
                  <a:gd name="connsiteX10" fmla="*/ 96072 w 2547443"/>
                  <a:gd name="connsiteY10" fmla="*/ 982494 h 2694798"/>
                  <a:gd name="connsiteX0" fmla="*/ 96072 w 2547443"/>
                  <a:gd name="connsiteY0" fmla="*/ 982494 h 2765238"/>
                  <a:gd name="connsiteX1" fmla="*/ 986153 w 2547443"/>
                  <a:gd name="connsiteY1" fmla="*/ 9727 h 2765238"/>
                  <a:gd name="connsiteX2" fmla="*/ 1642770 w 2547443"/>
                  <a:gd name="connsiteY2" fmla="*/ 0 h 2765238"/>
                  <a:gd name="connsiteX3" fmla="*/ 2547443 w 2547443"/>
                  <a:gd name="connsiteY3" fmla="*/ 131323 h 2765238"/>
                  <a:gd name="connsiteX4" fmla="*/ 1545493 w 2547443"/>
                  <a:gd name="connsiteY4" fmla="*/ 355060 h 2765238"/>
                  <a:gd name="connsiteX5" fmla="*/ 1127203 w 2547443"/>
                  <a:gd name="connsiteY5" fmla="*/ 306422 h 2765238"/>
                  <a:gd name="connsiteX6" fmla="*/ 397629 w 2547443"/>
                  <a:gd name="connsiteY6" fmla="*/ 1118680 h 2765238"/>
                  <a:gd name="connsiteX7" fmla="*/ 378175 w 2547443"/>
                  <a:gd name="connsiteY7" fmla="*/ 1420238 h 2765238"/>
                  <a:gd name="connsiteX8" fmla="*/ 660277 w 2547443"/>
                  <a:gd name="connsiteY8" fmla="*/ 2504872 h 2765238"/>
                  <a:gd name="connsiteX9" fmla="*/ 694323 w 2547443"/>
                  <a:gd name="connsiteY9" fmla="*/ 2694562 h 2765238"/>
                  <a:gd name="connsiteX10" fmla="*/ 42569 w 2547443"/>
                  <a:gd name="connsiteY10" fmla="*/ 1532106 h 2765238"/>
                  <a:gd name="connsiteX11" fmla="*/ 96072 w 2547443"/>
                  <a:gd name="connsiteY11" fmla="*/ 982494 h 2765238"/>
                  <a:gd name="connsiteX0" fmla="*/ 96072 w 2547443"/>
                  <a:gd name="connsiteY0" fmla="*/ 982494 h 2765238"/>
                  <a:gd name="connsiteX1" fmla="*/ 986153 w 2547443"/>
                  <a:gd name="connsiteY1" fmla="*/ 9727 h 2765238"/>
                  <a:gd name="connsiteX2" fmla="*/ 1642770 w 2547443"/>
                  <a:gd name="connsiteY2" fmla="*/ 0 h 2765238"/>
                  <a:gd name="connsiteX3" fmla="*/ 2547443 w 2547443"/>
                  <a:gd name="connsiteY3" fmla="*/ 131323 h 2765238"/>
                  <a:gd name="connsiteX4" fmla="*/ 1545493 w 2547443"/>
                  <a:gd name="connsiteY4" fmla="*/ 355060 h 2765238"/>
                  <a:gd name="connsiteX5" fmla="*/ 1127203 w 2547443"/>
                  <a:gd name="connsiteY5" fmla="*/ 306422 h 2765238"/>
                  <a:gd name="connsiteX6" fmla="*/ 397629 w 2547443"/>
                  <a:gd name="connsiteY6" fmla="*/ 1118680 h 2765238"/>
                  <a:gd name="connsiteX7" fmla="*/ 378175 w 2547443"/>
                  <a:gd name="connsiteY7" fmla="*/ 1420238 h 2765238"/>
                  <a:gd name="connsiteX8" fmla="*/ 913196 w 2547443"/>
                  <a:gd name="connsiteY8" fmla="*/ 2504872 h 2765238"/>
                  <a:gd name="connsiteX9" fmla="*/ 694323 w 2547443"/>
                  <a:gd name="connsiteY9" fmla="*/ 2694562 h 2765238"/>
                  <a:gd name="connsiteX10" fmla="*/ 42569 w 2547443"/>
                  <a:gd name="connsiteY10" fmla="*/ 1532106 h 2765238"/>
                  <a:gd name="connsiteX11" fmla="*/ 96072 w 2547443"/>
                  <a:gd name="connsiteY11" fmla="*/ 982494 h 2765238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621366 w 2547443"/>
                  <a:gd name="connsiteY8" fmla="*/ 192121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569 w 2547443"/>
                  <a:gd name="connsiteY11" fmla="*/ 1532106 h 2751446"/>
                  <a:gd name="connsiteX12" fmla="*/ 96072 w 2547443"/>
                  <a:gd name="connsiteY12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569 w 2547443"/>
                  <a:gd name="connsiteY11" fmla="*/ 1532106 h 2751446"/>
                  <a:gd name="connsiteX12" fmla="*/ 96072 w 2547443"/>
                  <a:gd name="connsiteY12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569 w 2547443"/>
                  <a:gd name="connsiteY11" fmla="*/ 1532106 h 2751446"/>
                  <a:gd name="connsiteX12" fmla="*/ 96072 w 2547443"/>
                  <a:gd name="connsiteY12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569 w 2547443"/>
                  <a:gd name="connsiteY11" fmla="*/ 1532106 h 2751446"/>
                  <a:gd name="connsiteX12" fmla="*/ 96072 w 2547443"/>
                  <a:gd name="connsiteY12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569 w 2547443"/>
                  <a:gd name="connsiteY11" fmla="*/ 1532106 h 2751446"/>
                  <a:gd name="connsiteX12" fmla="*/ 96072 w 2547443"/>
                  <a:gd name="connsiteY12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383039 w 2547443"/>
                  <a:gd name="connsiteY11" fmla="*/ 2178995 h 2751446"/>
                  <a:gd name="connsiteX12" fmla="*/ 42569 w 2547443"/>
                  <a:gd name="connsiteY12" fmla="*/ 1532106 h 2751446"/>
                  <a:gd name="connsiteX13" fmla="*/ 96072 w 2547443"/>
                  <a:gd name="connsiteY13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6814 w 2547443"/>
                  <a:gd name="connsiteY11" fmla="*/ 1969851 h 2751446"/>
                  <a:gd name="connsiteX12" fmla="*/ 42569 w 2547443"/>
                  <a:gd name="connsiteY12" fmla="*/ 1532106 h 2751446"/>
                  <a:gd name="connsiteX13" fmla="*/ 96072 w 2547443"/>
                  <a:gd name="connsiteY13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6814 w 2547443"/>
                  <a:gd name="connsiteY11" fmla="*/ 1969851 h 2751446"/>
                  <a:gd name="connsiteX12" fmla="*/ 42569 w 2547443"/>
                  <a:gd name="connsiteY12" fmla="*/ 1532106 h 2751446"/>
                  <a:gd name="connsiteX13" fmla="*/ 96072 w 2547443"/>
                  <a:gd name="connsiteY13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6814 w 2547443"/>
                  <a:gd name="connsiteY11" fmla="*/ 1969851 h 2751446"/>
                  <a:gd name="connsiteX12" fmla="*/ 42569 w 2547443"/>
                  <a:gd name="connsiteY12" fmla="*/ 1532106 h 2751446"/>
                  <a:gd name="connsiteX13" fmla="*/ 96072 w 2547443"/>
                  <a:gd name="connsiteY13" fmla="*/ 982494 h 2751446"/>
                  <a:gd name="connsiteX0" fmla="*/ 99995 w 2551366"/>
                  <a:gd name="connsiteY0" fmla="*/ 982494 h 2751446"/>
                  <a:gd name="connsiteX1" fmla="*/ 990076 w 2551366"/>
                  <a:gd name="connsiteY1" fmla="*/ 9727 h 2751446"/>
                  <a:gd name="connsiteX2" fmla="*/ 1646693 w 2551366"/>
                  <a:gd name="connsiteY2" fmla="*/ 0 h 2751446"/>
                  <a:gd name="connsiteX3" fmla="*/ 2551366 w 2551366"/>
                  <a:gd name="connsiteY3" fmla="*/ 131323 h 2751446"/>
                  <a:gd name="connsiteX4" fmla="*/ 1549416 w 2551366"/>
                  <a:gd name="connsiteY4" fmla="*/ 355060 h 2751446"/>
                  <a:gd name="connsiteX5" fmla="*/ 1131126 w 2551366"/>
                  <a:gd name="connsiteY5" fmla="*/ 306422 h 2751446"/>
                  <a:gd name="connsiteX6" fmla="*/ 401552 w 2551366"/>
                  <a:gd name="connsiteY6" fmla="*/ 1118680 h 2751446"/>
                  <a:gd name="connsiteX7" fmla="*/ 382098 w 2551366"/>
                  <a:gd name="connsiteY7" fmla="*/ 1420238 h 2751446"/>
                  <a:gd name="connsiteX8" fmla="*/ 742021 w 2551366"/>
                  <a:gd name="connsiteY8" fmla="*/ 1819072 h 2751446"/>
                  <a:gd name="connsiteX9" fmla="*/ 917119 w 2551366"/>
                  <a:gd name="connsiteY9" fmla="*/ 2504872 h 2751446"/>
                  <a:gd name="connsiteX10" fmla="*/ 698246 w 2551366"/>
                  <a:gd name="connsiteY10" fmla="*/ 2694562 h 2751446"/>
                  <a:gd name="connsiteX11" fmla="*/ 430737 w 2551366"/>
                  <a:gd name="connsiteY11" fmla="*/ 1969851 h 2751446"/>
                  <a:gd name="connsiteX12" fmla="*/ 41628 w 2551366"/>
                  <a:gd name="connsiteY12" fmla="*/ 1493195 h 2751446"/>
                  <a:gd name="connsiteX13" fmla="*/ 99995 w 2551366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47743 w 2568372"/>
                  <a:gd name="connsiteY11" fmla="*/ 1969851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47743 w 2568372"/>
                  <a:gd name="connsiteY11" fmla="*/ 1969851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72062 w 2568372"/>
                  <a:gd name="connsiteY11" fmla="*/ 1935804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72062 w 2568372"/>
                  <a:gd name="connsiteY11" fmla="*/ 1935804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52606 w 2568372"/>
                  <a:gd name="connsiteY11" fmla="*/ 1935804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52606 w 2568372"/>
                  <a:gd name="connsiteY11" fmla="*/ 1935804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52606 w 2568372"/>
                  <a:gd name="connsiteY11" fmla="*/ 1935804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08634"/>
                  <a:gd name="connsiteX1" fmla="*/ 1007082 w 2568372"/>
                  <a:gd name="connsiteY1" fmla="*/ 9727 h 2708634"/>
                  <a:gd name="connsiteX2" fmla="*/ 1663699 w 2568372"/>
                  <a:gd name="connsiteY2" fmla="*/ 0 h 2708634"/>
                  <a:gd name="connsiteX3" fmla="*/ 2568372 w 2568372"/>
                  <a:gd name="connsiteY3" fmla="*/ 131323 h 2708634"/>
                  <a:gd name="connsiteX4" fmla="*/ 1566422 w 2568372"/>
                  <a:gd name="connsiteY4" fmla="*/ 355060 h 2708634"/>
                  <a:gd name="connsiteX5" fmla="*/ 1148132 w 2568372"/>
                  <a:gd name="connsiteY5" fmla="*/ 306422 h 2708634"/>
                  <a:gd name="connsiteX6" fmla="*/ 418558 w 2568372"/>
                  <a:gd name="connsiteY6" fmla="*/ 1118680 h 2708634"/>
                  <a:gd name="connsiteX7" fmla="*/ 399104 w 2568372"/>
                  <a:gd name="connsiteY7" fmla="*/ 1420238 h 2708634"/>
                  <a:gd name="connsiteX8" fmla="*/ 759027 w 2568372"/>
                  <a:gd name="connsiteY8" fmla="*/ 1819072 h 2708634"/>
                  <a:gd name="connsiteX9" fmla="*/ 934125 w 2568372"/>
                  <a:gd name="connsiteY9" fmla="*/ 2504872 h 2708634"/>
                  <a:gd name="connsiteX10" fmla="*/ 715252 w 2568372"/>
                  <a:gd name="connsiteY10" fmla="*/ 2694562 h 2708634"/>
                  <a:gd name="connsiteX11" fmla="*/ 452606 w 2568372"/>
                  <a:gd name="connsiteY11" fmla="*/ 1935804 h 2708634"/>
                  <a:gd name="connsiteX12" fmla="*/ 58634 w 2568372"/>
                  <a:gd name="connsiteY12" fmla="*/ 1493195 h 2708634"/>
                  <a:gd name="connsiteX13" fmla="*/ 117001 w 2568372"/>
                  <a:gd name="connsiteY13" fmla="*/ 982494 h 2708634"/>
                  <a:gd name="connsiteX0" fmla="*/ 117001 w 2568372"/>
                  <a:gd name="connsiteY0" fmla="*/ 982494 h 2705878"/>
                  <a:gd name="connsiteX1" fmla="*/ 1007082 w 2568372"/>
                  <a:gd name="connsiteY1" fmla="*/ 9727 h 2705878"/>
                  <a:gd name="connsiteX2" fmla="*/ 1663699 w 2568372"/>
                  <a:gd name="connsiteY2" fmla="*/ 0 h 2705878"/>
                  <a:gd name="connsiteX3" fmla="*/ 2568372 w 2568372"/>
                  <a:gd name="connsiteY3" fmla="*/ 131323 h 2705878"/>
                  <a:gd name="connsiteX4" fmla="*/ 1566422 w 2568372"/>
                  <a:gd name="connsiteY4" fmla="*/ 355060 h 2705878"/>
                  <a:gd name="connsiteX5" fmla="*/ 1148132 w 2568372"/>
                  <a:gd name="connsiteY5" fmla="*/ 306422 h 2705878"/>
                  <a:gd name="connsiteX6" fmla="*/ 418558 w 2568372"/>
                  <a:gd name="connsiteY6" fmla="*/ 1118680 h 2705878"/>
                  <a:gd name="connsiteX7" fmla="*/ 399104 w 2568372"/>
                  <a:gd name="connsiteY7" fmla="*/ 1420238 h 2705878"/>
                  <a:gd name="connsiteX8" fmla="*/ 759027 w 2568372"/>
                  <a:gd name="connsiteY8" fmla="*/ 1819072 h 2705878"/>
                  <a:gd name="connsiteX9" fmla="*/ 934125 w 2568372"/>
                  <a:gd name="connsiteY9" fmla="*/ 2504872 h 2705878"/>
                  <a:gd name="connsiteX10" fmla="*/ 715252 w 2568372"/>
                  <a:gd name="connsiteY10" fmla="*/ 2694562 h 2705878"/>
                  <a:gd name="connsiteX11" fmla="*/ 452606 w 2568372"/>
                  <a:gd name="connsiteY11" fmla="*/ 1935804 h 2705878"/>
                  <a:gd name="connsiteX12" fmla="*/ 58634 w 2568372"/>
                  <a:gd name="connsiteY12" fmla="*/ 1493195 h 2705878"/>
                  <a:gd name="connsiteX13" fmla="*/ 117001 w 2568372"/>
                  <a:gd name="connsiteY13" fmla="*/ 982494 h 2705878"/>
                  <a:gd name="connsiteX0" fmla="*/ 117001 w 2568372"/>
                  <a:gd name="connsiteY0" fmla="*/ 982494 h 2705878"/>
                  <a:gd name="connsiteX1" fmla="*/ 1007082 w 2568372"/>
                  <a:gd name="connsiteY1" fmla="*/ 9727 h 2705878"/>
                  <a:gd name="connsiteX2" fmla="*/ 1663699 w 2568372"/>
                  <a:gd name="connsiteY2" fmla="*/ 0 h 2705878"/>
                  <a:gd name="connsiteX3" fmla="*/ 2568372 w 2568372"/>
                  <a:gd name="connsiteY3" fmla="*/ 131323 h 2705878"/>
                  <a:gd name="connsiteX4" fmla="*/ 1566422 w 2568372"/>
                  <a:gd name="connsiteY4" fmla="*/ 355060 h 2705878"/>
                  <a:gd name="connsiteX5" fmla="*/ 1148132 w 2568372"/>
                  <a:gd name="connsiteY5" fmla="*/ 306422 h 2705878"/>
                  <a:gd name="connsiteX6" fmla="*/ 418558 w 2568372"/>
                  <a:gd name="connsiteY6" fmla="*/ 1118680 h 2705878"/>
                  <a:gd name="connsiteX7" fmla="*/ 399104 w 2568372"/>
                  <a:gd name="connsiteY7" fmla="*/ 1420238 h 2705878"/>
                  <a:gd name="connsiteX8" fmla="*/ 768755 w 2568372"/>
                  <a:gd name="connsiteY8" fmla="*/ 1809344 h 2705878"/>
                  <a:gd name="connsiteX9" fmla="*/ 934125 w 2568372"/>
                  <a:gd name="connsiteY9" fmla="*/ 2504872 h 2705878"/>
                  <a:gd name="connsiteX10" fmla="*/ 715252 w 2568372"/>
                  <a:gd name="connsiteY10" fmla="*/ 2694562 h 2705878"/>
                  <a:gd name="connsiteX11" fmla="*/ 452606 w 2568372"/>
                  <a:gd name="connsiteY11" fmla="*/ 1935804 h 2705878"/>
                  <a:gd name="connsiteX12" fmla="*/ 58634 w 2568372"/>
                  <a:gd name="connsiteY12" fmla="*/ 1493195 h 2705878"/>
                  <a:gd name="connsiteX13" fmla="*/ 117001 w 2568372"/>
                  <a:gd name="connsiteY13" fmla="*/ 982494 h 2705878"/>
                  <a:gd name="connsiteX0" fmla="*/ 117001 w 2568372"/>
                  <a:gd name="connsiteY0" fmla="*/ 982494 h 2705878"/>
                  <a:gd name="connsiteX1" fmla="*/ 1007082 w 2568372"/>
                  <a:gd name="connsiteY1" fmla="*/ 9727 h 2705878"/>
                  <a:gd name="connsiteX2" fmla="*/ 1663699 w 2568372"/>
                  <a:gd name="connsiteY2" fmla="*/ 0 h 2705878"/>
                  <a:gd name="connsiteX3" fmla="*/ 2568372 w 2568372"/>
                  <a:gd name="connsiteY3" fmla="*/ 131323 h 2705878"/>
                  <a:gd name="connsiteX4" fmla="*/ 1566422 w 2568372"/>
                  <a:gd name="connsiteY4" fmla="*/ 355060 h 2705878"/>
                  <a:gd name="connsiteX5" fmla="*/ 1148132 w 2568372"/>
                  <a:gd name="connsiteY5" fmla="*/ 306422 h 2705878"/>
                  <a:gd name="connsiteX6" fmla="*/ 418558 w 2568372"/>
                  <a:gd name="connsiteY6" fmla="*/ 1118680 h 2705878"/>
                  <a:gd name="connsiteX7" fmla="*/ 399104 w 2568372"/>
                  <a:gd name="connsiteY7" fmla="*/ 1420238 h 2705878"/>
                  <a:gd name="connsiteX8" fmla="*/ 768755 w 2568372"/>
                  <a:gd name="connsiteY8" fmla="*/ 1809344 h 2705878"/>
                  <a:gd name="connsiteX9" fmla="*/ 934125 w 2568372"/>
                  <a:gd name="connsiteY9" fmla="*/ 2504872 h 2705878"/>
                  <a:gd name="connsiteX10" fmla="*/ 715252 w 2568372"/>
                  <a:gd name="connsiteY10" fmla="*/ 2694562 h 2705878"/>
                  <a:gd name="connsiteX11" fmla="*/ 452606 w 2568372"/>
                  <a:gd name="connsiteY11" fmla="*/ 1935804 h 2705878"/>
                  <a:gd name="connsiteX12" fmla="*/ 58634 w 2568372"/>
                  <a:gd name="connsiteY12" fmla="*/ 1493195 h 2705878"/>
                  <a:gd name="connsiteX13" fmla="*/ 117001 w 2568372"/>
                  <a:gd name="connsiteY13" fmla="*/ 982494 h 2705878"/>
                  <a:gd name="connsiteX0" fmla="*/ 117001 w 2568372"/>
                  <a:gd name="connsiteY0" fmla="*/ 982494 h 2705878"/>
                  <a:gd name="connsiteX1" fmla="*/ 1007082 w 2568372"/>
                  <a:gd name="connsiteY1" fmla="*/ 9727 h 2705878"/>
                  <a:gd name="connsiteX2" fmla="*/ 1663699 w 2568372"/>
                  <a:gd name="connsiteY2" fmla="*/ 0 h 2705878"/>
                  <a:gd name="connsiteX3" fmla="*/ 2568372 w 2568372"/>
                  <a:gd name="connsiteY3" fmla="*/ 131323 h 2705878"/>
                  <a:gd name="connsiteX4" fmla="*/ 1566422 w 2568372"/>
                  <a:gd name="connsiteY4" fmla="*/ 355060 h 2705878"/>
                  <a:gd name="connsiteX5" fmla="*/ 1148132 w 2568372"/>
                  <a:gd name="connsiteY5" fmla="*/ 306422 h 2705878"/>
                  <a:gd name="connsiteX6" fmla="*/ 418558 w 2568372"/>
                  <a:gd name="connsiteY6" fmla="*/ 1118680 h 2705878"/>
                  <a:gd name="connsiteX7" fmla="*/ 399104 w 2568372"/>
                  <a:gd name="connsiteY7" fmla="*/ 1420238 h 2705878"/>
                  <a:gd name="connsiteX8" fmla="*/ 768755 w 2568372"/>
                  <a:gd name="connsiteY8" fmla="*/ 1809344 h 2705878"/>
                  <a:gd name="connsiteX9" fmla="*/ 934125 w 2568372"/>
                  <a:gd name="connsiteY9" fmla="*/ 2504872 h 2705878"/>
                  <a:gd name="connsiteX10" fmla="*/ 715252 w 2568372"/>
                  <a:gd name="connsiteY10" fmla="*/ 2694562 h 2705878"/>
                  <a:gd name="connsiteX11" fmla="*/ 452606 w 2568372"/>
                  <a:gd name="connsiteY11" fmla="*/ 1935804 h 2705878"/>
                  <a:gd name="connsiteX12" fmla="*/ 58634 w 2568372"/>
                  <a:gd name="connsiteY12" fmla="*/ 1493195 h 2705878"/>
                  <a:gd name="connsiteX13" fmla="*/ 117001 w 2568372"/>
                  <a:gd name="connsiteY13" fmla="*/ 982494 h 2705878"/>
                  <a:gd name="connsiteX0" fmla="*/ 117001 w 2568372"/>
                  <a:gd name="connsiteY0" fmla="*/ 1079805 h 2803189"/>
                  <a:gd name="connsiteX1" fmla="*/ 1007082 w 2568372"/>
                  <a:gd name="connsiteY1" fmla="*/ 107038 h 2803189"/>
                  <a:gd name="connsiteX2" fmla="*/ 1663699 w 2568372"/>
                  <a:gd name="connsiteY2" fmla="*/ 97311 h 2803189"/>
                  <a:gd name="connsiteX3" fmla="*/ 2568372 w 2568372"/>
                  <a:gd name="connsiteY3" fmla="*/ 228634 h 2803189"/>
                  <a:gd name="connsiteX4" fmla="*/ 1566422 w 2568372"/>
                  <a:gd name="connsiteY4" fmla="*/ 452371 h 2803189"/>
                  <a:gd name="connsiteX5" fmla="*/ 1148132 w 2568372"/>
                  <a:gd name="connsiteY5" fmla="*/ 403733 h 2803189"/>
                  <a:gd name="connsiteX6" fmla="*/ 418558 w 2568372"/>
                  <a:gd name="connsiteY6" fmla="*/ 1215991 h 2803189"/>
                  <a:gd name="connsiteX7" fmla="*/ 399104 w 2568372"/>
                  <a:gd name="connsiteY7" fmla="*/ 1517549 h 2803189"/>
                  <a:gd name="connsiteX8" fmla="*/ 768755 w 2568372"/>
                  <a:gd name="connsiteY8" fmla="*/ 1906655 h 2803189"/>
                  <a:gd name="connsiteX9" fmla="*/ 934125 w 2568372"/>
                  <a:gd name="connsiteY9" fmla="*/ 2602183 h 2803189"/>
                  <a:gd name="connsiteX10" fmla="*/ 715252 w 2568372"/>
                  <a:gd name="connsiteY10" fmla="*/ 2791873 h 2803189"/>
                  <a:gd name="connsiteX11" fmla="*/ 452606 w 2568372"/>
                  <a:gd name="connsiteY11" fmla="*/ 2033115 h 2803189"/>
                  <a:gd name="connsiteX12" fmla="*/ 58634 w 2568372"/>
                  <a:gd name="connsiteY12" fmla="*/ 1590506 h 2803189"/>
                  <a:gd name="connsiteX13" fmla="*/ 117001 w 2568372"/>
                  <a:gd name="connsiteY13" fmla="*/ 1079805 h 2803189"/>
                  <a:gd name="connsiteX0" fmla="*/ 117001 w 2568372"/>
                  <a:gd name="connsiteY0" fmla="*/ 1091839 h 2815223"/>
                  <a:gd name="connsiteX1" fmla="*/ 1007082 w 2568372"/>
                  <a:gd name="connsiteY1" fmla="*/ 119072 h 2815223"/>
                  <a:gd name="connsiteX2" fmla="*/ 1663699 w 2568372"/>
                  <a:gd name="connsiteY2" fmla="*/ 109345 h 2815223"/>
                  <a:gd name="connsiteX3" fmla="*/ 2568372 w 2568372"/>
                  <a:gd name="connsiteY3" fmla="*/ 240668 h 2815223"/>
                  <a:gd name="connsiteX4" fmla="*/ 1566422 w 2568372"/>
                  <a:gd name="connsiteY4" fmla="*/ 464405 h 2815223"/>
                  <a:gd name="connsiteX5" fmla="*/ 1148132 w 2568372"/>
                  <a:gd name="connsiteY5" fmla="*/ 415767 h 2815223"/>
                  <a:gd name="connsiteX6" fmla="*/ 418558 w 2568372"/>
                  <a:gd name="connsiteY6" fmla="*/ 1228025 h 2815223"/>
                  <a:gd name="connsiteX7" fmla="*/ 399104 w 2568372"/>
                  <a:gd name="connsiteY7" fmla="*/ 1529583 h 2815223"/>
                  <a:gd name="connsiteX8" fmla="*/ 768755 w 2568372"/>
                  <a:gd name="connsiteY8" fmla="*/ 1918689 h 2815223"/>
                  <a:gd name="connsiteX9" fmla="*/ 934125 w 2568372"/>
                  <a:gd name="connsiteY9" fmla="*/ 2614217 h 2815223"/>
                  <a:gd name="connsiteX10" fmla="*/ 715252 w 2568372"/>
                  <a:gd name="connsiteY10" fmla="*/ 2803907 h 2815223"/>
                  <a:gd name="connsiteX11" fmla="*/ 452606 w 2568372"/>
                  <a:gd name="connsiteY11" fmla="*/ 2045149 h 2815223"/>
                  <a:gd name="connsiteX12" fmla="*/ 58634 w 2568372"/>
                  <a:gd name="connsiteY12" fmla="*/ 1602540 h 2815223"/>
                  <a:gd name="connsiteX13" fmla="*/ 117001 w 2568372"/>
                  <a:gd name="connsiteY13" fmla="*/ 1091839 h 2815223"/>
                  <a:gd name="connsiteX0" fmla="*/ 117001 w 2568372"/>
                  <a:gd name="connsiteY0" fmla="*/ 1091839 h 2815223"/>
                  <a:gd name="connsiteX1" fmla="*/ 1007082 w 2568372"/>
                  <a:gd name="connsiteY1" fmla="*/ 119072 h 2815223"/>
                  <a:gd name="connsiteX2" fmla="*/ 1663699 w 2568372"/>
                  <a:gd name="connsiteY2" fmla="*/ 109345 h 2815223"/>
                  <a:gd name="connsiteX3" fmla="*/ 2568372 w 2568372"/>
                  <a:gd name="connsiteY3" fmla="*/ 240668 h 2815223"/>
                  <a:gd name="connsiteX4" fmla="*/ 1566422 w 2568372"/>
                  <a:gd name="connsiteY4" fmla="*/ 464405 h 2815223"/>
                  <a:gd name="connsiteX5" fmla="*/ 1148132 w 2568372"/>
                  <a:gd name="connsiteY5" fmla="*/ 415767 h 2815223"/>
                  <a:gd name="connsiteX6" fmla="*/ 418558 w 2568372"/>
                  <a:gd name="connsiteY6" fmla="*/ 1228025 h 2815223"/>
                  <a:gd name="connsiteX7" fmla="*/ 399104 w 2568372"/>
                  <a:gd name="connsiteY7" fmla="*/ 1529583 h 2815223"/>
                  <a:gd name="connsiteX8" fmla="*/ 768755 w 2568372"/>
                  <a:gd name="connsiteY8" fmla="*/ 1918689 h 2815223"/>
                  <a:gd name="connsiteX9" fmla="*/ 934125 w 2568372"/>
                  <a:gd name="connsiteY9" fmla="*/ 2614217 h 2815223"/>
                  <a:gd name="connsiteX10" fmla="*/ 715252 w 2568372"/>
                  <a:gd name="connsiteY10" fmla="*/ 2803907 h 2815223"/>
                  <a:gd name="connsiteX11" fmla="*/ 452606 w 2568372"/>
                  <a:gd name="connsiteY11" fmla="*/ 2045149 h 2815223"/>
                  <a:gd name="connsiteX12" fmla="*/ 58634 w 2568372"/>
                  <a:gd name="connsiteY12" fmla="*/ 1602540 h 2815223"/>
                  <a:gd name="connsiteX13" fmla="*/ 117001 w 2568372"/>
                  <a:gd name="connsiteY13" fmla="*/ 1091839 h 2815223"/>
                  <a:gd name="connsiteX0" fmla="*/ 117001 w 2568372"/>
                  <a:gd name="connsiteY0" fmla="*/ 1091839 h 2815223"/>
                  <a:gd name="connsiteX1" fmla="*/ 1007082 w 2568372"/>
                  <a:gd name="connsiteY1" fmla="*/ 119072 h 2815223"/>
                  <a:gd name="connsiteX2" fmla="*/ 1663699 w 2568372"/>
                  <a:gd name="connsiteY2" fmla="*/ 109345 h 2815223"/>
                  <a:gd name="connsiteX3" fmla="*/ 2568372 w 2568372"/>
                  <a:gd name="connsiteY3" fmla="*/ 240668 h 2815223"/>
                  <a:gd name="connsiteX4" fmla="*/ 1566422 w 2568372"/>
                  <a:gd name="connsiteY4" fmla="*/ 464405 h 2815223"/>
                  <a:gd name="connsiteX5" fmla="*/ 1148132 w 2568372"/>
                  <a:gd name="connsiteY5" fmla="*/ 415767 h 2815223"/>
                  <a:gd name="connsiteX6" fmla="*/ 418558 w 2568372"/>
                  <a:gd name="connsiteY6" fmla="*/ 1228025 h 2815223"/>
                  <a:gd name="connsiteX7" fmla="*/ 399104 w 2568372"/>
                  <a:gd name="connsiteY7" fmla="*/ 1529583 h 2815223"/>
                  <a:gd name="connsiteX8" fmla="*/ 768755 w 2568372"/>
                  <a:gd name="connsiteY8" fmla="*/ 1918689 h 2815223"/>
                  <a:gd name="connsiteX9" fmla="*/ 934125 w 2568372"/>
                  <a:gd name="connsiteY9" fmla="*/ 2614217 h 2815223"/>
                  <a:gd name="connsiteX10" fmla="*/ 715252 w 2568372"/>
                  <a:gd name="connsiteY10" fmla="*/ 2803907 h 2815223"/>
                  <a:gd name="connsiteX11" fmla="*/ 452606 w 2568372"/>
                  <a:gd name="connsiteY11" fmla="*/ 2045149 h 2815223"/>
                  <a:gd name="connsiteX12" fmla="*/ 58634 w 2568372"/>
                  <a:gd name="connsiteY12" fmla="*/ 1602540 h 2815223"/>
                  <a:gd name="connsiteX13" fmla="*/ 117001 w 2568372"/>
                  <a:gd name="connsiteY13" fmla="*/ 1091839 h 2815223"/>
                  <a:gd name="connsiteX0" fmla="*/ 117001 w 2568372"/>
                  <a:gd name="connsiteY0" fmla="*/ 1091839 h 2815223"/>
                  <a:gd name="connsiteX1" fmla="*/ 1007082 w 2568372"/>
                  <a:gd name="connsiteY1" fmla="*/ 119072 h 2815223"/>
                  <a:gd name="connsiteX2" fmla="*/ 1663699 w 2568372"/>
                  <a:gd name="connsiteY2" fmla="*/ 109345 h 2815223"/>
                  <a:gd name="connsiteX3" fmla="*/ 2568372 w 2568372"/>
                  <a:gd name="connsiteY3" fmla="*/ 240668 h 2815223"/>
                  <a:gd name="connsiteX4" fmla="*/ 1566422 w 2568372"/>
                  <a:gd name="connsiteY4" fmla="*/ 464405 h 2815223"/>
                  <a:gd name="connsiteX5" fmla="*/ 1148132 w 2568372"/>
                  <a:gd name="connsiteY5" fmla="*/ 415767 h 2815223"/>
                  <a:gd name="connsiteX6" fmla="*/ 418558 w 2568372"/>
                  <a:gd name="connsiteY6" fmla="*/ 1228025 h 2815223"/>
                  <a:gd name="connsiteX7" fmla="*/ 399104 w 2568372"/>
                  <a:gd name="connsiteY7" fmla="*/ 1529583 h 2815223"/>
                  <a:gd name="connsiteX8" fmla="*/ 768755 w 2568372"/>
                  <a:gd name="connsiteY8" fmla="*/ 1918689 h 2815223"/>
                  <a:gd name="connsiteX9" fmla="*/ 934125 w 2568372"/>
                  <a:gd name="connsiteY9" fmla="*/ 2614217 h 2815223"/>
                  <a:gd name="connsiteX10" fmla="*/ 715252 w 2568372"/>
                  <a:gd name="connsiteY10" fmla="*/ 2803907 h 2815223"/>
                  <a:gd name="connsiteX11" fmla="*/ 452606 w 2568372"/>
                  <a:gd name="connsiteY11" fmla="*/ 2045149 h 2815223"/>
                  <a:gd name="connsiteX12" fmla="*/ 58634 w 2568372"/>
                  <a:gd name="connsiteY12" fmla="*/ 1602540 h 2815223"/>
                  <a:gd name="connsiteX13" fmla="*/ 117001 w 2568372"/>
                  <a:gd name="connsiteY13" fmla="*/ 1091839 h 2815223"/>
                  <a:gd name="connsiteX0" fmla="*/ 117001 w 2568372"/>
                  <a:gd name="connsiteY0" fmla="*/ 1091839 h 2815223"/>
                  <a:gd name="connsiteX1" fmla="*/ 1007082 w 2568372"/>
                  <a:gd name="connsiteY1" fmla="*/ 119072 h 2815223"/>
                  <a:gd name="connsiteX2" fmla="*/ 1663699 w 2568372"/>
                  <a:gd name="connsiteY2" fmla="*/ 109345 h 2815223"/>
                  <a:gd name="connsiteX3" fmla="*/ 2568372 w 2568372"/>
                  <a:gd name="connsiteY3" fmla="*/ 240668 h 2815223"/>
                  <a:gd name="connsiteX4" fmla="*/ 1566422 w 2568372"/>
                  <a:gd name="connsiteY4" fmla="*/ 464405 h 2815223"/>
                  <a:gd name="connsiteX5" fmla="*/ 1148132 w 2568372"/>
                  <a:gd name="connsiteY5" fmla="*/ 415767 h 2815223"/>
                  <a:gd name="connsiteX6" fmla="*/ 418558 w 2568372"/>
                  <a:gd name="connsiteY6" fmla="*/ 1228025 h 2815223"/>
                  <a:gd name="connsiteX7" fmla="*/ 399104 w 2568372"/>
                  <a:gd name="connsiteY7" fmla="*/ 1529583 h 2815223"/>
                  <a:gd name="connsiteX8" fmla="*/ 768755 w 2568372"/>
                  <a:gd name="connsiteY8" fmla="*/ 1918689 h 2815223"/>
                  <a:gd name="connsiteX9" fmla="*/ 934125 w 2568372"/>
                  <a:gd name="connsiteY9" fmla="*/ 2614217 h 2815223"/>
                  <a:gd name="connsiteX10" fmla="*/ 715252 w 2568372"/>
                  <a:gd name="connsiteY10" fmla="*/ 2803907 h 2815223"/>
                  <a:gd name="connsiteX11" fmla="*/ 452606 w 2568372"/>
                  <a:gd name="connsiteY11" fmla="*/ 2045149 h 2815223"/>
                  <a:gd name="connsiteX12" fmla="*/ 58634 w 2568372"/>
                  <a:gd name="connsiteY12" fmla="*/ 1602540 h 2815223"/>
                  <a:gd name="connsiteX13" fmla="*/ 117001 w 2568372"/>
                  <a:gd name="connsiteY13" fmla="*/ 1091839 h 2815223"/>
                  <a:gd name="connsiteX0" fmla="*/ 117001 w 2603282"/>
                  <a:gd name="connsiteY0" fmla="*/ 1091839 h 2815223"/>
                  <a:gd name="connsiteX1" fmla="*/ 1007082 w 2603282"/>
                  <a:gd name="connsiteY1" fmla="*/ 119072 h 2815223"/>
                  <a:gd name="connsiteX2" fmla="*/ 1663699 w 2603282"/>
                  <a:gd name="connsiteY2" fmla="*/ 109345 h 2815223"/>
                  <a:gd name="connsiteX3" fmla="*/ 2568372 w 2603282"/>
                  <a:gd name="connsiteY3" fmla="*/ 240668 h 2815223"/>
                  <a:gd name="connsiteX4" fmla="*/ 2334908 w 2603282"/>
                  <a:gd name="connsiteY4" fmla="*/ 483861 h 2815223"/>
                  <a:gd name="connsiteX5" fmla="*/ 1566422 w 2603282"/>
                  <a:gd name="connsiteY5" fmla="*/ 464405 h 2815223"/>
                  <a:gd name="connsiteX6" fmla="*/ 1148132 w 2603282"/>
                  <a:gd name="connsiteY6" fmla="*/ 415767 h 2815223"/>
                  <a:gd name="connsiteX7" fmla="*/ 418558 w 2603282"/>
                  <a:gd name="connsiteY7" fmla="*/ 1228025 h 2815223"/>
                  <a:gd name="connsiteX8" fmla="*/ 399104 w 2603282"/>
                  <a:gd name="connsiteY8" fmla="*/ 1529583 h 2815223"/>
                  <a:gd name="connsiteX9" fmla="*/ 768755 w 2603282"/>
                  <a:gd name="connsiteY9" fmla="*/ 1918689 h 2815223"/>
                  <a:gd name="connsiteX10" fmla="*/ 934125 w 2603282"/>
                  <a:gd name="connsiteY10" fmla="*/ 2614217 h 2815223"/>
                  <a:gd name="connsiteX11" fmla="*/ 715252 w 2603282"/>
                  <a:gd name="connsiteY11" fmla="*/ 2803907 h 2815223"/>
                  <a:gd name="connsiteX12" fmla="*/ 452606 w 2603282"/>
                  <a:gd name="connsiteY12" fmla="*/ 2045149 h 2815223"/>
                  <a:gd name="connsiteX13" fmla="*/ 58634 w 2603282"/>
                  <a:gd name="connsiteY13" fmla="*/ 1602540 h 2815223"/>
                  <a:gd name="connsiteX14" fmla="*/ 117001 w 2603282"/>
                  <a:gd name="connsiteY14" fmla="*/ 1091839 h 2815223"/>
                  <a:gd name="connsiteX0" fmla="*/ 117001 w 2704505"/>
                  <a:gd name="connsiteY0" fmla="*/ 1091839 h 2815223"/>
                  <a:gd name="connsiteX1" fmla="*/ 1007082 w 2704505"/>
                  <a:gd name="connsiteY1" fmla="*/ 119072 h 2815223"/>
                  <a:gd name="connsiteX2" fmla="*/ 1663699 w 2704505"/>
                  <a:gd name="connsiteY2" fmla="*/ 109345 h 2815223"/>
                  <a:gd name="connsiteX3" fmla="*/ 2568372 w 2704505"/>
                  <a:gd name="connsiteY3" fmla="*/ 240668 h 2815223"/>
                  <a:gd name="connsiteX4" fmla="*/ 2617010 w 2704505"/>
                  <a:gd name="connsiteY4" fmla="*/ 381721 h 2815223"/>
                  <a:gd name="connsiteX5" fmla="*/ 1566422 w 2704505"/>
                  <a:gd name="connsiteY5" fmla="*/ 464405 h 2815223"/>
                  <a:gd name="connsiteX6" fmla="*/ 1148132 w 2704505"/>
                  <a:gd name="connsiteY6" fmla="*/ 415767 h 2815223"/>
                  <a:gd name="connsiteX7" fmla="*/ 418558 w 2704505"/>
                  <a:gd name="connsiteY7" fmla="*/ 1228025 h 2815223"/>
                  <a:gd name="connsiteX8" fmla="*/ 399104 w 2704505"/>
                  <a:gd name="connsiteY8" fmla="*/ 1529583 h 2815223"/>
                  <a:gd name="connsiteX9" fmla="*/ 768755 w 2704505"/>
                  <a:gd name="connsiteY9" fmla="*/ 1918689 h 2815223"/>
                  <a:gd name="connsiteX10" fmla="*/ 934125 w 2704505"/>
                  <a:gd name="connsiteY10" fmla="*/ 2614217 h 2815223"/>
                  <a:gd name="connsiteX11" fmla="*/ 715252 w 2704505"/>
                  <a:gd name="connsiteY11" fmla="*/ 2803907 h 2815223"/>
                  <a:gd name="connsiteX12" fmla="*/ 452606 w 2704505"/>
                  <a:gd name="connsiteY12" fmla="*/ 2045149 h 2815223"/>
                  <a:gd name="connsiteX13" fmla="*/ 58634 w 2704505"/>
                  <a:gd name="connsiteY13" fmla="*/ 1602540 h 2815223"/>
                  <a:gd name="connsiteX14" fmla="*/ 117001 w 2704505"/>
                  <a:gd name="connsiteY14" fmla="*/ 1091839 h 2815223"/>
                  <a:gd name="connsiteX0" fmla="*/ 117001 w 2832040"/>
                  <a:gd name="connsiteY0" fmla="*/ 1091839 h 2815223"/>
                  <a:gd name="connsiteX1" fmla="*/ 1007082 w 2832040"/>
                  <a:gd name="connsiteY1" fmla="*/ 119072 h 2815223"/>
                  <a:gd name="connsiteX2" fmla="*/ 1663699 w 2832040"/>
                  <a:gd name="connsiteY2" fmla="*/ 109345 h 2815223"/>
                  <a:gd name="connsiteX3" fmla="*/ 2568372 w 2832040"/>
                  <a:gd name="connsiteY3" fmla="*/ 240668 h 2815223"/>
                  <a:gd name="connsiteX4" fmla="*/ 2617010 w 2832040"/>
                  <a:gd name="connsiteY4" fmla="*/ 381721 h 2815223"/>
                  <a:gd name="connsiteX5" fmla="*/ 1566422 w 2832040"/>
                  <a:gd name="connsiteY5" fmla="*/ 464405 h 2815223"/>
                  <a:gd name="connsiteX6" fmla="*/ 1148132 w 2832040"/>
                  <a:gd name="connsiteY6" fmla="*/ 415767 h 2815223"/>
                  <a:gd name="connsiteX7" fmla="*/ 418558 w 2832040"/>
                  <a:gd name="connsiteY7" fmla="*/ 1228025 h 2815223"/>
                  <a:gd name="connsiteX8" fmla="*/ 399104 w 2832040"/>
                  <a:gd name="connsiteY8" fmla="*/ 1529583 h 2815223"/>
                  <a:gd name="connsiteX9" fmla="*/ 768755 w 2832040"/>
                  <a:gd name="connsiteY9" fmla="*/ 1918689 h 2815223"/>
                  <a:gd name="connsiteX10" fmla="*/ 934125 w 2832040"/>
                  <a:gd name="connsiteY10" fmla="*/ 2614217 h 2815223"/>
                  <a:gd name="connsiteX11" fmla="*/ 715252 w 2832040"/>
                  <a:gd name="connsiteY11" fmla="*/ 2803907 h 2815223"/>
                  <a:gd name="connsiteX12" fmla="*/ 452606 w 2832040"/>
                  <a:gd name="connsiteY12" fmla="*/ 2045149 h 2815223"/>
                  <a:gd name="connsiteX13" fmla="*/ 58634 w 2832040"/>
                  <a:gd name="connsiteY13" fmla="*/ 1602540 h 2815223"/>
                  <a:gd name="connsiteX14" fmla="*/ 117001 w 2832040"/>
                  <a:gd name="connsiteY14" fmla="*/ 1091839 h 2815223"/>
                  <a:gd name="connsiteX0" fmla="*/ 117001 w 2832040"/>
                  <a:gd name="connsiteY0" fmla="*/ 1091839 h 2815223"/>
                  <a:gd name="connsiteX1" fmla="*/ 1007082 w 2832040"/>
                  <a:gd name="connsiteY1" fmla="*/ 119072 h 2815223"/>
                  <a:gd name="connsiteX2" fmla="*/ 1663699 w 2832040"/>
                  <a:gd name="connsiteY2" fmla="*/ 109345 h 2815223"/>
                  <a:gd name="connsiteX3" fmla="*/ 2568372 w 2832040"/>
                  <a:gd name="connsiteY3" fmla="*/ 240668 h 2815223"/>
                  <a:gd name="connsiteX4" fmla="*/ 2617010 w 2832040"/>
                  <a:gd name="connsiteY4" fmla="*/ 381721 h 2815223"/>
                  <a:gd name="connsiteX5" fmla="*/ 1566422 w 2832040"/>
                  <a:gd name="connsiteY5" fmla="*/ 464405 h 2815223"/>
                  <a:gd name="connsiteX6" fmla="*/ 1148132 w 2832040"/>
                  <a:gd name="connsiteY6" fmla="*/ 415767 h 2815223"/>
                  <a:gd name="connsiteX7" fmla="*/ 418558 w 2832040"/>
                  <a:gd name="connsiteY7" fmla="*/ 1228025 h 2815223"/>
                  <a:gd name="connsiteX8" fmla="*/ 399104 w 2832040"/>
                  <a:gd name="connsiteY8" fmla="*/ 1529583 h 2815223"/>
                  <a:gd name="connsiteX9" fmla="*/ 768755 w 2832040"/>
                  <a:gd name="connsiteY9" fmla="*/ 1918689 h 2815223"/>
                  <a:gd name="connsiteX10" fmla="*/ 934125 w 2832040"/>
                  <a:gd name="connsiteY10" fmla="*/ 2614217 h 2815223"/>
                  <a:gd name="connsiteX11" fmla="*/ 715252 w 2832040"/>
                  <a:gd name="connsiteY11" fmla="*/ 2803907 h 2815223"/>
                  <a:gd name="connsiteX12" fmla="*/ 452606 w 2832040"/>
                  <a:gd name="connsiteY12" fmla="*/ 2045149 h 2815223"/>
                  <a:gd name="connsiteX13" fmla="*/ 58634 w 2832040"/>
                  <a:gd name="connsiteY13" fmla="*/ 1602540 h 2815223"/>
                  <a:gd name="connsiteX14" fmla="*/ 117001 w 283204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46845"/>
                  <a:gd name="connsiteY0" fmla="*/ 1091839 h 2815223"/>
                  <a:gd name="connsiteX1" fmla="*/ 1007082 w 2846845"/>
                  <a:gd name="connsiteY1" fmla="*/ 119072 h 2815223"/>
                  <a:gd name="connsiteX2" fmla="*/ 1663699 w 2846845"/>
                  <a:gd name="connsiteY2" fmla="*/ 109345 h 2815223"/>
                  <a:gd name="connsiteX3" fmla="*/ 2568372 w 2846845"/>
                  <a:gd name="connsiteY3" fmla="*/ 240668 h 2815223"/>
                  <a:gd name="connsiteX4" fmla="*/ 2617010 w 2846845"/>
                  <a:gd name="connsiteY4" fmla="*/ 381721 h 2815223"/>
                  <a:gd name="connsiteX5" fmla="*/ 1566422 w 2846845"/>
                  <a:gd name="connsiteY5" fmla="*/ 464405 h 2815223"/>
                  <a:gd name="connsiteX6" fmla="*/ 1148132 w 2846845"/>
                  <a:gd name="connsiteY6" fmla="*/ 415767 h 2815223"/>
                  <a:gd name="connsiteX7" fmla="*/ 418558 w 2846845"/>
                  <a:gd name="connsiteY7" fmla="*/ 1228025 h 2815223"/>
                  <a:gd name="connsiteX8" fmla="*/ 399104 w 2846845"/>
                  <a:gd name="connsiteY8" fmla="*/ 1529583 h 2815223"/>
                  <a:gd name="connsiteX9" fmla="*/ 768755 w 2846845"/>
                  <a:gd name="connsiteY9" fmla="*/ 1918689 h 2815223"/>
                  <a:gd name="connsiteX10" fmla="*/ 934125 w 2846845"/>
                  <a:gd name="connsiteY10" fmla="*/ 2614217 h 2815223"/>
                  <a:gd name="connsiteX11" fmla="*/ 715252 w 2846845"/>
                  <a:gd name="connsiteY11" fmla="*/ 2803907 h 2815223"/>
                  <a:gd name="connsiteX12" fmla="*/ 452606 w 2846845"/>
                  <a:gd name="connsiteY12" fmla="*/ 2045149 h 2815223"/>
                  <a:gd name="connsiteX13" fmla="*/ 58634 w 2846845"/>
                  <a:gd name="connsiteY13" fmla="*/ 1602540 h 2815223"/>
                  <a:gd name="connsiteX14" fmla="*/ 117001 w 2846845"/>
                  <a:gd name="connsiteY14" fmla="*/ 1091839 h 2815223"/>
                  <a:gd name="connsiteX0" fmla="*/ 117001 w 2846845"/>
                  <a:gd name="connsiteY0" fmla="*/ 1091839 h 2815223"/>
                  <a:gd name="connsiteX1" fmla="*/ 1007082 w 2846845"/>
                  <a:gd name="connsiteY1" fmla="*/ 119072 h 2815223"/>
                  <a:gd name="connsiteX2" fmla="*/ 1663699 w 2846845"/>
                  <a:gd name="connsiteY2" fmla="*/ 109345 h 2815223"/>
                  <a:gd name="connsiteX3" fmla="*/ 2568372 w 2846845"/>
                  <a:gd name="connsiteY3" fmla="*/ 240668 h 2815223"/>
                  <a:gd name="connsiteX4" fmla="*/ 2617010 w 2846845"/>
                  <a:gd name="connsiteY4" fmla="*/ 381721 h 2815223"/>
                  <a:gd name="connsiteX5" fmla="*/ 1566422 w 2846845"/>
                  <a:gd name="connsiteY5" fmla="*/ 464405 h 2815223"/>
                  <a:gd name="connsiteX6" fmla="*/ 1148132 w 2846845"/>
                  <a:gd name="connsiteY6" fmla="*/ 415767 h 2815223"/>
                  <a:gd name="connsiteX7" fmla="*/ 418558 w 2846845"/>
                  <a:gd name="connsiteY7" fmla="*/ 1228025 h 2815223"/>
                  <a:gd name="connsiteX8" fmla="*/ 399104 w 2846845"/>
                  <a:gd name="connsiteY8" fmla="*/ 1529583 h 2815223"/>
                  <a:gd name="connsiteX9" fmla="*/ 768755 w 2846845"/>
                  <a:gd name="connsiteY9" fmla="*/ 1918689 h 2815223"/>
                  <a:gd name="connsiteX10" fmla="*/ 934125 w 2846845"/>
                  <a:gd name="connsiteY10" fmla="*/ 2614217 h 2815223"/>
                  <a:gd name="connsiteX11" fmla="*/ 715252 w 2846845"/>
                  <a:gd name="connsiteY11" fmla="*/ 2803907 h 2815223"/>
                  <a:gd name="connsiteX12" fmla="*/ 452606 w 2846845"/>
                  <a:gd name="connsiteY12" fmla="*/ 2045149 h 2815223"/>
                  <a:gd name="connsiteX13" fmla="*/ 58634 w 2846845"/>
                  <a:gd name="connsiteY13" fmla="*/ 1602540 h 2815223"/>
                  <a:gd name="connsiteX14" fmla="*/ 117001 w 2846845"/>
                  <a:gd name="connsiteY14" fmla="*/ 1091839 h 2815223"/>
                  <a:gd name="connsiteX0" fmla="*/ 117001 w 2846845"/>
                  <a:gd name="connsiteY0" fmla="*/ 1091839 h 2815223"/>
                  <a:gd name="connsiteX1" fmla="*/ 1007082 w 2846845"/>
                  <a:gd name="connsiteY1" fmla="*/ 119072 h 2815223"/>
                  <a:gd name="connsiteX2" fmla="*/ 1663699 w 2846845"/>
                  <a:gd name="connsiteY2" fmla="*/ 109345 h 2815223"/>
                  <a:gd name="connsiteX3" fmla="*/ 2568372 w 2846845"/>
                  <a:gd name="connsiteY3" fmla="*/ 240668 h 2815223"/>
                  <a:gd name="connsiteX4" fmla="*/ 2617010 w 2846845"/>
                  <a:gd name="connsiteY4" fmla="*/ 381721 h 2815223"/>
                  <a:gd name="connsiteX5" fmla="*/ 1566422 w 2846845"/>
                  <a:gd name="connsiteY5" fmla="*/ 464405 h 2815223"/>
                  <a:gd name="connsiteX6" fmla="*/ 1148132 w 2846845"/>
                  <a:gd name="connsiteY6" fmla="*/ 415767 h 2815223"/>
                  <a:gd name="connsiteX7" fmla="*/ 418558 w 2846845"/>
                  <a:gd name="connsiteY7" fmla="*/ 1228025 h 2815223"/>
                  <a:gd name="connsiteX8" fmla="*/ 399104 w 2846845"/>
                  <a:gd name="connsiteY8" fmla="*/ 1529583 h 2815223"/>
                  <a:gd name="connsiteX9" fmla="*/ 768755 w 2846845"/>
                  <a:gd name="connsiteY9" fmla="*/ 1918689 h 2815223"/>
                  <a:gd name="connsiteX10" fmla="*/ 934125 w 2846845"/>
                  <a:gd name="connsiteY10" fmla="*/ 2614217 h 2815223"/>
                  <a:gd name="connsiteX11" fmla="*/ 715252 w 2846845"/>
                  <a:gd name="connsiteY11" fmla="*/ 2803907 h 2815223"/>
                  <a:gd name="connsiteX12" fmla="*/ 452606 w 2846845"/>
                  <a:gd name="connsiteY12" fmla="*/ 2045149 h 2815223"/>
                  <a:gd name="connsiteX13" fmla="*/ 58634 w 2846845"/>
                  <a:gd name="connsiteY13" fmla="*/ 1602540 h 2815223"/>
                  <a:gd name="connsiteX14" fmla="*/ 117001 w 2846845"/>
                  <a:gd name="connsiteY14" fmla="*/ 1091839 h 2815223"/>
                  <a:gd name="connsiteX0" fmla="*/ 117001 w 2846845"/>
                  <a:gd name="connsiteY0" fmla="*/ 1099926 h 2823310"/>
                  <a:gd name="connsiteX1" fmla="*/ 1007082 w 2846845"/>
                  <a:gd name="connsiteY1" fmla="*/ 127159 h 2823310"/>
                  <a:gd name="connsiteX2" fmla="*/ 1663699 w 2846845"/>
                  <a:gd name="connsiteY2" fmla="*/ 117432 h 2823310"/>
                  <a:gd name="connsiteX3" fmla="*/ 2568372 w 2846845"/>
                  <a:gd name="connsiteY3" fmla="*/ 248755 h 2823310"/>
                  <a:gd name="connsiteX4" fmla="*/ 2617010 w 2846845"/>
                  <a:gd name="connsiteY4" fmla="*/ 389808 h 2823310"/>
                  <a:gd name="connsiteX5" fmla="*/ 1566422 w 2846845"/>
                  <a:gd name="connsiteY5" fmla="*/ 472492 h 2823310"/>
                  <a:gd name="connsiteX6" fmla="*/ 1148132 w 2846845"/>
                  <a:gd name="connsiteY6" fmla="*/ 423854 h 2823310"/>
                  <a:gd name="connsiteX7" fmla="*/ 418558 w 2846845"/>
                  <a:gd name="connsiteY7" fmla="*/ 1236112 h 2823310"/>
                  <a:gd name="connsiteX8" fmla="*/ 399104 w 2846845"/>
                  <a:gd name="connsiteY8" fmla="*/ 1537670 h 2823310"/>
                  <a:gd name="connsiteX9" fmla="*/ 768755 w 2846845"/>
                  <a:gd name="connsiteY9" fmla="*/ 1926776 h 2823310"/>
                  <a:gd name="connsiteX10" fmla="*/ 934125 w 2846845"/>
                  <a:gd name="connsiteY10" fmla="*/ 2622304 h 2823310"/>
                  <a:gd name="connsiteX11" fmla="*/ 715252 w 2846845"/>
                  <a:gd name="connsiteY11" fmla="*/ 2811994 h 2823310"/>
                  <a:gd name="connsiteX12" fmla="*/ 452606 w 2846845"/>
                  <a:gd name="connsiteY12" fmla="*/ 2053236 h 2823310"/>
                  <a:gd name="connsiteX13" fmla="*/ 58634 w 2846845"/>
                  <a:gd name="connsiteY13" fmla="*/ 1610627 h 2823310"/>
                  <a:gd name="connsiteX14" fmla="*/ 117001 w 2846845"/>
                  <a:gd name="connsiteY14" fmla="*/ 1099926 h 2823310"/>
                  <a:gd name="connsiteX0" fmla="*/ 117001 w 2846845"/>
                  <a:gd name="connsiteY0" fmla="*/ 1095802 h 2819186"/>
                  <a:gd name="connsiteX1" fmla="*/ 1007082 w 2846845"/>
                  <a:gd name="connsiteY1" fmla="*/ 123035 h 2819186"/>
                  <a:gd name="connsiteX2" fmla="*/ 1663699 w 2846845"/>
                  <a:gd name="connsiteY2" fmla="*/ 113308 h 2819186"/>
                  <a:gd name="connsiteX3" fmla="*/ 2568372 w 2846845"/>
                  <a:gd name="connsiteY3" fmla="*/ 244631 h 2819186"/>
                  <a:gd name="connsiteX4" fmla="*/ 2617010 w 2846845"/>
                  <a:gd name="connsiteY4" fmla="*/ 385684 h 2819186"/>
                  <a:gd name="connsiteX5" fmla="*/ 1566422 w 2846845"/>
                  <a:gd name="connsiteY5" fmla="*/ 468368 h 2819186"/>
                  <a:gd name="connsiteX6" fmla="*/ 1148132 w 2846845"/>
                  <a:gd name="connsiteY6" fmla="*/ 419730 h 2819186"/>
                  <a:gd name="connsiteX7" fmla="*/ 418558 w 2846845"/>
                  <a:gd name="connsiteY7" fmla="*/ 1231988 h 2819186"/>
                  <a:gd name="connsiteX8" fmla="*/ 399104 w 2846845"/>
                  <a:gd name="connsiteY8" fmla="*/ 1533546 h 2819186"/>
                  <a:gd name="connsiteX9" fmla="*/ 768755 w 2846845"/>
                  <a:gd name="connsiteY9" fmla="*/ 1922652 h 2819186"/>
                  <a:gd name="connsiteX10" fmla="*/ 934125 w 2846845"/>
                  <a:gd name="connsiteY10" fmla="*/ 2618180 h 2819186"/>
                  <a:gd name="connsiteX11" fmla="*/ 715252 w 2846845"/>
                  <a:gd name="connsiteY11" fmla="*/ 2807870 h 2819186"/>
                  <a:gd name="connsiteX12" fmla="*/ 452606 w 2846845"/>
                  <a:gd name="connsiteY12" fmla="*/ 2049112 h 2819186"/>
                  <a:gd name="connsiteX13" fmla="*/ 58634 w 2846845"/>
                  <a:gd name="connsiteY13" fmla="*/ 1606503 h 2819186"/>
                  <a:gd name="connsiteX14" fmla="*/ 117001 w 2846845"/>
                  <a:gd name="connsiteY14" fmla="*/ 1095802 h 2819186"/>
                  <a:gd name="connsiteX0" fmla="*/ 117001 w 2846845"/>
                  <a:gd name="connsiteY0" fmla="*/ 1083122 h 2806506"/>
                  <a:gd name="connsiteX1" fmla="*/ 1007082 w 2846845"/>
                  <a:gd name="connsiteY1" fmla="*/ 110355 h 2806506"/>
                  <a:gd name="connsiteX2" fmla="*/ 1663699 w 2846845"/>
                  <a:gd name="connsiteY2" fmla="*/ 100628 h 2806506"/>
                  <a:gd name="connsiteX3" fmla="*/ 2568372 w 2846845"/>
                  <a:gd name="connsiteY3" fmla="*/ 231951 h 2806506"/>
                  <a:gd name="connsiteX4" fmla="*/ 2617010 w 2846845"/>
                  <a:gd name="connsiteY4" fmla="*/ 373004 h 2806506"/>
                  <a:gd name="connsiteX5" fmla="*/ 1566422 w 2846845"/>
                  <a:gd name="connsiteY5" fmla="*/ 455688 h 2806506"/>
                  <a:gd name="connsiteX6" fmla="*/ 1148132 w 2846845"/>
                  <a:gd name="connsiteY6" fmla="*/ 407050 h 2806506"/>
                  <a:gd name="connsiteX7" fmla="*/ 418558 w 2846845"/>
                  <a:gd name="connsiteY7" fmla="*/ 1219308 h 2806506"/>
                  <a:gd name="connsiteX8" fmla="*/ 399104 w 2846845"/>
                  <a:gd name="connsiteY8" fmla="*/ 1520866 h 2806506"/>
                  <a:gd name="connsiteX9" fmla="*/ 768755 w 2846845"/>
                  <a:gd name="connsiteY9" fmla="*/ 1909972 h 2806506"/>
                  <a:gd name="connsiteX10" fmla="*/ 934125 w 2846845"/>
                  <a:gd name="connsiteY10" fmla="*/ 2605500 h 2806506"/>
                  <a:gd name="connsiteX11" fmla="*/ 715252 w 2846845"/>
                  <a:gd name="connsiteY11" fmla="*/ 2795190 h 2806506"/>
                  <a:gd name="connsiteX12" fmla="*/ 452606 w 2846845"/>
                  <a:gd name="connsiteY12" fmla="*/ 2036432 h 2806506"/>
                  <a:gd name="connsiteX13" fmla="*/ 58634 w 2846845"/>
                  <a:gd name="connsiteY13" fmla="*/ 1593823 h 2806506"/>
                  <a:gd name="connsiteX14" fmla="*/ 117001 w 2846845"/>
                  <a:gd name="connsiteY14" fmla="*/ 1083122 h 2806506"/>
                  <a:gd name="connsiteX0" fmla="*/ 117001 w 2846845"/>
                  <a:gd name="connsiteY0" fmla="*/ 1083122 h 2806506"/>
                  <a:gd name="connsiteX1" fmla="*/ 1007082 w 2846845"/>
                  <a:gd name="connsiteY1" fmla="*/ 110355 h 2806506"/>
                  <a:gd name="connsiteX2" fmla="*/ 1639380 w 2846845"/>
                  <a:gd name="connsiteY2" fmla="*/ 100628 h 2806506"/>
                  <a:gd name="connsiteX3" fmla="*/ 2568372 w 2846845"/>
                  <a:gd name="connsiteY3" fmla="*/ 231951 h 2806506"/>
                  <a:gd name="connsiteX4" fmla="*/ 2617010 w 2846845"/>
                  <a:gd name="connsiteY4" fmla="*/ 373004 h 2806506"/>
                  <a:gd name="connsiteX5" fmla="*/ 1566422 w 2846845"/>
                  <a:gd name="connsiteY5" fmla="*/ 455688 h 2806506"/>
                  <a:gd name="connsiteX6" fmla="*/ 1148132 w 2846845"/>
                  <a:gd name="connsiteY6" fmla="*/ 407050 h 2806506"/>
                  <a:gd name="connsiteX7" fmla="*/ 418558 w 2846845"/>
                  <a:gd name="connsiteY7" fmla="*/ 1219308 h 2806506"/>
                  <a:gd name="connsiteX8" fmla="*/ 399104 w 2846845"/>
                  <a:gd name="connsiteY8" fmla="*/ 1520866 h 2806506"/>
                  <a:gd name="connsiteX9" fmla="*/ 768755 w 2846845"/>
                  <a:gd name="connsiteY9" fmla="*/ 1909972 h 2806506"/>
                  <a:gd name="connsiteX10" fmla="*/ 934125 w 2846845"/>
                  <a:gd name="connsiteY10" fmla="*/ 2605500 h 2806506"/>
                  <a:gd name="connsiteX11" fmla="*/ 715252 w 2846845"/>
                  <a:gd name="connsiteY11" fmla="*/ 2795190 h 2806506"/>
                  <a:gd name="connsiteX12" fmla="*/ 452606 w 2846845"/>
                  <a:gd name="connsiteY12" fmla="*/ 2036432 h 2806506"/>
                  <a:gd name="connsiteX13" fmla="*/ 58634 w 2846845"/>
                  <a:gd name="connsiteY13" fmla="*/ 1593823 h 2806506"/>
                  <a:gd name="connsiteX14" fmla="*/ 117001 w 2846845"/>
                  <a:gd name="connsiteY14" fmla="*/ 1083122 h 2806506"/>
                  <a:gd name="connsiteX0" fmla="*/ 117001 w 2846845"/>
                  <a:gd name="connsiteY0" fmla="*/ 1083122 h 2806506"/>
                  <a:gd name="connsiteX1" fmla="*/ 1007082 w 2846845"/>
                  <a:gd name="connsiteY1" fmla="*/ 110355 h 2806506"/>
                  <a:gd name="connsiteX2" fmla="*/ 1639380 w 2846845"/>
                  <a:gd name="connsiteY2" fmla="*/ 100628 h 2806506"/>
                  <a:gd name="connsiteX3" fmla="*/ 2568372 w 2846845"/>
                  <a:gd name="connsiteY3" fmla="*/ 231951 h 2806506"/>
                  <a:gd name="connsiteX4" fmla="*/ 2617010 w 2846845"/>
                  <a:gd name="connsiteY4" fmla="*/ 373004 h 2806506"/>
                  <a:gd name="connsiteX5" fmla="*/ 1566422 w 2846845"/>
                  <a:gd name="connsiteY5" fmla="*/ 455688 h 2806506"/>
                  <a:gd name="connsiteX6" fmla="*/ 1148132 w 2846845"/>
                  <a:gd name="connsiteY6" fmla="*/ 407050 h 2806506"/>
                  <a:gd name="connsiteX7" fmla="*/ 418558 w 2846845"/>
                  <a:gd name="connsiteY7" fmla="*/ 1219308 h 2806506"/>
                  <a:gd name="connsiteX8" fmla="*/ 399104 w 2846845"/>
                  <a:gd name="connsiteY8" fmla="*/ 1520866 h 2806506"/>
                  <a:gd name="connsiteX9" fmla="*/ 768755 w 2846845"/>
                  <a:gd name="connsiteY9" fmla="*/ 1909972 h 2806506"/>
                  <a:gd name="connsiteX10" fmla="*/ 934125 w 2846845"/>
                  <a:gd name="connsiteY10" fmla="*/ 2605500 h 2806506"/>
                  <a:gd name="connsiteX11" fmla="*/ 715252 w 2846845"/>
                  <a:gd name="connsiteY11" fmla="*/ 2795190 h 2806506"/>
                  <a:gd name="connsiteX12" fmla="*/ 452606 w 2846845"/>
                  <a:gd name="connsiteY12" fmla="*/ 2036432 h 2806506"/>
                  <a:gd name="connsiteX13" fmla="*/ 58634 w 2846845"/>
                  <a:gd name="connsiteY13" fmla="*/ 1593823 h 2806506"/>
                  <a:gd name="connsiteX14" fmla="*/ 117001 w 2846845"/>
                  <a:gd name="connsiteY14" fmla="*/ 1083122 h 2806506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768755 w 2846845"/>
                  <a:gd name="connsiteY9" fmla="*/ 1915683 h 2812217"/>
                  <a:gd name="connsiteX10" fmla="*/ 934125 w 2846845"/>
                  <a:gd name="connsiteY10" fmla="*/ 2611211 h 2812217"/>
                  <a:gd name="connsiteX11" fmla="*/ 715252 w 2846845"/>
                  <a:gd name="connsiteY11" fmla="*/ 2800901 h 2812217"/>
                  <a:gd name="connsiteX12" fmla="*/ 452606 w 2846845"/>
                  <a:gd name="connsiteY12" fmla="*/ 2042143 h 2812217"/>
                  <a:gd name="connsiteX13" fmla="*/ 58634 w 2846845"/>
                  <a:gd name="connsiteY13" fmla="*/ 1599534 h 2812217"/>
                  <a:gd name="connsiteX14" fmla="*/ 117001 w 2846845"/>
                  <a:gd name="connsiteY14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768755 w 2846845"/>
                  <a:gd name="connsiteY9" fmla="*/ 1915683 h 2812217"/>
                  <a:gd name="connsiteX10" fmla="*/ 934125 w 2846845"/>
                  <a:gd name="connsiteY10" fmla="*/ 2611211 h 2812217"/>
                  <a:gd name="connsiteX11" fmla="*/ 715252 w 2846845"/>
                  <a:gd name="connsiteY11" fmla="*/ 2800901 h 2812217"/>
                  <a:gd name="connsiteX12" fmla="*/ 452606 w 2846845"/>
                  <a:gd name="connsiteY12" fmla="*/ 2042143 h 2812217"/>
                  <a:gd name="connsiteX13" fmla="*/ 58634 w 2846845"/>
                  <a:gd name="connsiteY13" fmla="*/ 1599534 h 2812217"/>
                  <a:gd name="connsiteX14" fmla="*/ 117001 w 2846845"/>
                  <a:gd name="connsiteY14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768755 w 2846845"/>
                  <a:gd name="connsiteY9" fmla="*/ 1915683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316418 w 2846845"/>
                  <a:gd name="connsiteY14" fmla="*/ 1891366 h 2812217"/>
                  <a:gd name="connsiteX15" fmla="*/ 58634 w 2846845"/>
                  <a:gd name="connsiteY15" fmla="*/ 1599534 h 2812217"/>
                  <a:gd name="connsiteX16" fmla="*/ 117001 w 2846845"/>
                  <a:gd name="connsiteY16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520699 w 2846845"/>
                  <a:gd name="connsiteY13" fmla="*/ 2304792 h 2812217"/>
                  <a:gd name="connsiteX14" fmla="*/ 452606 w 2846845"/>
                  <a:gd name="connsiteY14" fmla="*/ 2042143 h 2812217"/>
                  <a:gd name="connsiteX15" fmla="*/ 316418 w 2846845"/>
                  <a:gd name="connsiteY15" fmla="*/ 1891366 h 2812217"/>
                  <a:gd name="connsiteX16" fmla="*/ 58634 w 2846845"/>
                  <a:gd name="connsiteY16" fmla="*/ 1599534 h 2812217"/>
                  <a:gd name="connsiteX17" fmla="*/ 117001 w 2846845"/>
                  <a:gd name="connsiteY17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520699 w 2846845"/>
                  <a:gd name="connsiteY13" fmla="*/ 2304792 h 2812217"/>
                  <a:gd name="connsiteX14" fmla="*/ 316418 w 2846845"/>
                  <a:gd name="connsiteY14" fmla="*/ 1891366 h 2812217"/>
                  <a:gd name="connsiteX15" fmla="*/ 58634 w 2846845"/>
                  <a:gd name="connsiteY15" fmla="*/ 1599534 h 2812217"/>
                  <a:gd name="connsiteX16" fmla="*/ 117001 w 2846845"/>
                  <a:gd name="connsiteY16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520699 w 2846845"/>
                  <a:gd name="connsiteY13" fmla="*/ 2304792 h 2812217"/>
                  <a:gd name="connsiteX14" fmla="*/ 316418 w 2846845"/>
                  <a:gd name="connsiteY14" fmla="*/ 1891366 h 2812217"/>
                  <a:gd name="connsiteX15" fmla="*/ 58634 w 2846845"/>
                  <a:gd name="connsiteY15" fmla="*/ 1599534 h 2812217"/>
                  <a:gd name="connsiteX16" fmla="*/ 117001 w 2846845"/>
                  <a:gd name="connsiteY16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520699 w 2846845"/>
                  <a:gd name="connsiteY13" fmla="*/ 2304792 h 2812217"/>
                  <a:gd name="connsiteX14" fmla="*/ 316418 w 2846845"/>
                  <a:gd name="connsiteY14" fmla="*/ 1891366 h 2812217"/>
                  <a:gd name="connsiteX15" fmla="*/ 58634 w 2846845"/>
                  <a:gd name="connsiteY15" fmla="*/ 1599534 h 2812217"/>
                  <a:gd name="connsiteX16" fmla="*/ 117001 w 2846845"/>
                  <a:gd name="connsiteY16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520699 w 2846845"/>
                  <a:gd name="connsiteY13" fmla="*/ 2304792 h 2812217"/>
                  <a:gd name="connsiteX14" fmla="*/ 296962 w 2846845"/>
                  <a:gd name="connsiteY14" fmla="*/ 1891366 h 2812217"/>
                  <a:gd name="connsiteX15" fmla="*/ 58634 w 2846845"/>
                  <a:gd name="connsiteY15" fmla="*/ 1599534 h 2812217"/>
                  <a:gd name="connsiteX16" fmla="*/ 117001 w 2846845"/>
                  <a:gd name="connsiteY16" fmla="*/ 1088833 h 2812217"/>
                  <a:gd name="connsiteX0" fmla="*/ 33194 w 2763038"/>
                  <a:gd name="connsiteY0" fmla="*/ 1088833 h 2812217"/>
                  <a:gd name="connsiteX1" fmla="*/ 923275 w 2763038"/>
                  <a:gd name="connsiteY1" fmla="*/ 116066 h 2812217"/>
                  <a:gd name="connsiteX2" fmla="*/ 1555573 w 2763038"/>
                  <a:gd name="connsiteY2" fmla="*/ 106339 h 2812217"/>
                  <a:gd name="connsiteX3" fmla="*/ 2484565 w 2763038"/>
                  <a:gd name="connsiteY3" fmla="*/ 237662 h 2812217"/>
                  <a:gd name="connsiteX4" fmla="*/ 2533203 w 2763038"/>
                  <a:gd name="connsiteY4" fmla="*/ 378715 h 2812217"/>
                  <a:gd name="connsiteX5" fmla="*/ 1482615 w 2763038"/>
                  <a:gd name="connsiteY5" fmla="*/ 461399 h 2812217"/>
                  <a:gd name="connsiteX6" fmla="*/ 1064325 w 2763038"/>
                  <a:gd name="connsiteY6" fmla="*/ 412761 h 2812217"/>
                  <a:gd name="connsiteX7" fmla="*/ 334751 w 2763038"/>
                  <a:gd name="connsiteY7" fmla="*/ 1225019 h 2812217"/>
                  <a:gd name="connsiteX8" fmla="*/ 315297 w 2763038"/>
                  <a:gd name="connsiteY8" fmla="*/ 1526577 h 2812217"/>
                  <a:gd name="connsiteX9" fmla="*/ 607127 w 2763038"/>
                  <a:gd name="connsiteY9" fmla="*/ 1832998 h 2812217"/>
                  <a:gd name="connsiteX10" fmla="*/ 743313 w 2763038"/>
                  <a:gd name="connsiteY10" fmla="*/ 2202651 h 2812217"/>
                  <a:gd name="connsiteX11" fmla="*/ 850318 w 2763038"/>
                  <a:gd name="connsiteY11" fmla="*/ 2611211 h 2812217"/>
                  <a:gd name="connsiteX12" fmla="*/ 631445 w 2763038"/>
                  <a:gd name="connsiteY12" fmla="*/ 2800901 h 2812217"/>
                  <a:gd name="connsiteX13" fmla="*/ 436892 w 2763038"/>
                  <a:gd name="connsiteY13" fmla="*/ 2304792 h 2812217"/>
                  <a:gd name="connsiteX14" fmla="*/ 213155 w 2763038"/>
                  <a:gd name="connsiteY14" fmla="*/ 1891366 h 2812217"/>
                  <a:gd name="connsiteX15" fmla="*/ 33194 w 2763038"/>
                  <a:gd name="connsiteY15" fmla="*/ 1088833 h 2812217"/>
                  <a:gd name="connsiteX0" fmla="*/ 95096 w 2824940"/>
                  <a:gd name="connsiteY0" fmla="*/ 1088833 h 2812217"/>
                  <a:gd name="connsiteX1" fmla="*/ 985177 w 2824940"/>
                  <a:gd name="connsiteY1" fmla="*/ 116066 h 2812217"/>
                  <a:gd name="connsiteX2" fmla="*/ 1617475 w 2824940"/>
                  <a:gd name="connsiteY2" fmla="*/ 106339 h 2812217"/>
                  <a:gd name="connsiteX3" fmla="*/ 2546467 w 2824940"/>
                  <a:gd name="connsiteY3" fmla="*/ 237662 h 2812217"/>
                  <a:gd name="connsiteX4" fmla="*/ 2595105 w 2824940"/>
                  <a:gd name="connsiteY4" fmla="*/ 378715 h 2812217"/>
                  <a:gd name="connsiteX5" fmla="*/ 1544517 w 2824940"/>
                  <a:gd name="connsiteY5" fmla="*/ 461399 h 2812217"/>
                  <a:gd name="connsiteX6" fmla="*/ 1126227 w 2824940"/>
                  <a:gd name="connsiteY6" fmla="*/ 412761 h 2812217"/>
                  <a:gd name="connsiteX7" fmla="*/ 396653 w 2824940"/>
                  <a:gd name="connsiteY7" fmla="*/ 1225019 h 2812217"/>
                  <a:gd name="connsiteX8" fmla="*/ 377199 w 2824940"/>
                  <a:gd name="connsiteY8" fmla="*/ 1526577 h 2812217"/>
                  <a:gd name="connsiteX9" fmla="*/ 669029 w 2824940"/>
                  <a:gd name="connsiteY9" fmla="*/ 1832998 h 2812217"/>
                  <a:gd name="connsiteX10" fmla="*/ 805215 w 2824940"/>
                  <a:gd name="connsiteY10" fmla="*/ 2202651 h 2812217"/>
                  <a:gd name="connsiteX11" fmla="*/ 912220 w 2824940"/>
                  <a:gd name="connsiteY11" fmla="*/ 2611211 h 2812217"/>
                  <a:gd name="connsiteX12" fmla="*/ 693347 w 2824940"/>
                  <a:gd name="connsiteY12" fmla="*/ 2800901 h 2812217"/>
                  <a:gd name="connsiteX13" fmla="*/ 498794 w 2824940"/>
                  <a:gd name="connsiteY13" fmla="*/ 2304792 h 2812217"/>
                  <a:gd name="connsiteX14" fmla="*/ 275057 w 2824940"/>
                  <a:gd name="connsiteY14" fmla="*/ 1891366 h 2812217"/>
                  <a:gd name="connsiteX15" fmla="*/ 95096 w 2824940"/>
                  <a:gd name="connsiteY15" fmla="*/ 1088833 h 2812217"/>
                  <a:gd name="connsiteX0" fmla="*/ 121910 w 2851754"/>
                  <a:gd name="connsiteY0" fmla="*/ 1088833 h 2812217"/>
                  <a:gd name="connsiteX1" fmla="*/ 1011991 w 2851754"/>
                  <a:gd name="connsiteY1" fmla="*/ 116066 h 2812217"/>
                  <a:gd name="connsiteX2" fmla="*/ 1644289 w 2851754"/>
                  <a:gd name="connsiteY2" fmla="*/ 106339 h 2812217"/>
                  <a:gd name="connsiteX3" fmla="*/ 2573281 w 2851754"/>
                  <a:gd name="connsiteY3" fmla="*/ 237662 h 2812217"/>
                  <a:gd name="connsiteX4" fmla="*/ 2621919 w 2851754"/>
                  <a:gd name="connsiteY4" fmla="*/ 378715 h 2812217"/>
                  <a:gd name="connsiteX5" fmla="*/ 1571331 w 2851754"/>
                  <a:gd name="connsiteY5" fmla="*/ 461399 h 2812217"/>
                  <a:gd name="connsiteX6" fmla="*/ 1153041 w 2851754"/>
                  <a:gd name="connsiteY6" fmla="*/ 412761 h 2812217"/>
                  <a:gd name="connsiteX7" fmla="*/ 423467 w 2851754"/>
                  <a:gd name="connsiteY7" fmla="*/ 1225019 h 2812217"/>
                  <a:gd name="connsiteX8" fmla="*/ 404013 w 2851754"/>
                  <a:gd name="connsiteY8" fmla="*/ 1526577 h 2812217"/>
                  <a:gd name="connsiteX9" fmla="*/ 695843 w 2851754"/>
                  <a:gd name="connsiteY9" fmla="*/ 1832998 h 2812217"/>
                  <a:gd name="connsiteX10" fmla="*/ 832029 w 2851754"/>
                  <a:gd name="connsiteY10" fmla="*/ 2202651 h 2812217"/>
                  <a:gd name="connsiteX11" fmla="*/ 939034 w 2851754"/>
                  <a:gd name="connsiteY11" fmla="*/ 2611211 h 2812217"/>
                  <a:gd name="connsiteX12" fmla="*/ 720161 w 2851754"/>
                  <a:gd name="connsiteY12" fmla="*/ 2800901 h 2812217"/>
                  <a:gd name="connsiteX13" fmla="*/ 525608 w 2851754"/>
                  <a:gd name="connsiteY13" fmla="*/ 2304792 h 2812217"/>
                  <a:gd name="connsiteX14" fmla="*/ 243505 w 2851754"/>
                  <a:gd name="connsiteY14" fmla="*/ 1842728 h 2812217"/>
                  <a:gd name="connsiteX15" fmla="*/ 121910 w 2851754"/>
                  <a:gd name="connsiteY15" fmla="*/ 1088833 h 2812217"/>
                  <a:gd name="connsiteX0" fmla="*/ 121910 w 2851754"/>
                  <a:gd name="connsiteY0" fmla="*/ 1088833 h 2812217"/>
                  <a:gd name="connsiteX1" fmla="*/ 1011991 w 2851754"/>
                  <a:gd name="connsiteY1" fmla="*/ 116066 h 2812217"/>
                  <a:gd name="connsiteX2" fmla="*/ 1644289 w 2851754"/>
                  <a:gd name="connsiteY2" fmla="*/ 106339 h 2812217"/>
                  <a:gd name="connsiteX3" fmla="*/ 2573281 w 2851754"/>
                  <a:gd name="connsiteY3" fmla="*/ 237662 h 2812217"/>
                  <a:gd name="connsiteX4" fmla="*/ 2621919 w 2851754"/>
                  <a:gd name="connsiteY4" fmla="*/ 378715 h 2812217"/>
                  <a:gd name="connsiteX5" fmla="*/ 1571331 w 2851754"/>
                  <a:gd name="connsiteY5" fmla="*/ 461399 h 2812217"/>
                  <a:gd name="connsiteX6" fmla="*/ 1153041 w 2851754"/>
                  <a:gd name="connsiteY6" fmla="*/ 412761 h 2812217"/>
                  <a:gd name="connsiteX7" fmla="*/ 423467 w 2851754"/>
                  <a:gd name="connsiteY7" fmla="*/ 1225019 h 2812217"/>
                  <a:gd name="connsiteX8" fmla="*/ 404013 w 2851754"/>
                  <a:gd name="connsiteY8" fmla="*/ 1526577 h 2812217"/>
                  <a:gd name="connsiteX9" fmla="*/ 695843 w 2851754"/>
                  <a:gd name="connsiteY9" fmla="*/ 1832998 h 2812217"/>
                  <a:gd name="connsiteX10" fmla="*/ 832029 w 2851754"/>
                  <a:gd name="connsiteY10" fmla="*/ 2202651 h 2812217"/>
                  <a:gd name="connsiteX11" fmla="*/ 939034 w 2851754"/>
                  <a:gd name="connsiteY11" fmla="*/ 2611211 h 2812217"/>
                  <a:gd name="connsiteX12" fmla="*/ 720161 w 2851754"/>
                  <a:gd name="connsiteY12" fmla="*/ 2800901 h 2812217"/>
                  <a:gd name="connsiteX13" fmla="*/ 525608 w 2851754"/>
                  <a:gd name="connsiteY13" fmla="*/ 2304792 h 2812217"/>
                  <a:gd name="connsiteX14" fmla="*/ 243505 w 2851754"/>
                  <a:gd name="connsiteY14" fmla="*/ 1823273 h 2812217"/>
                  <a:gd name="connsiteX15" fmla="*/ 121910 w 2851754"/>
                  <a:gd name="connsiteY15" fmla="*/ 1088833 h 2812217"/>
                  <a:gd name="connsiteX0" fmla="*/ 98893 w 2828737"/>
                  <a:gd name="connsiteY0" fmla="*/ 1088833 h 2812217"/>
                  <a:gd name="connsiteX1" fmla="*/ 988974 w 2828737"/>
                  <a:gd name="connsiteY1" fmla="*/ 116066 h 2812217"/>
                  <a:gd name="connsiteX2" fmla="*/ 1621272 w 2828737"/>
                  <a:gd name="connsiteY2" fmla="*/ 106339 h 2812217"/>
                  <a:gd name="connsiteX3" fmla="*/ 2550264 w 2828737"/>
                  <a:gd name="connsiteY3" fmla="*/ 237662 h 2812217"/>
                  <a:gd name="connsiteX4" fmla="*/ 2598902 w 2828737"/>
                  <a:gd name="connsiteY4" fmla="*/ 378715 h 2812217"/>
                  <a:gd name="connsiteX5" fmla="*/ 1548314 w 2828737"/>
                  <a:gd name="connsiteY5" fmla="*/ 461399 h 2812217"/>
                  <a:gd name="connsiteX6" fmla="*/ 1130024 w 2828737"/>
                  <a:gd name="connsiteY6" fmla="*/ 412761 h 2812217"/>
                  <a:gd name="connsiteX7" fmla="*/ 400450 w 2828737"/>
                  <a:gd name="connsiteY7" fmla="*/ 1225019 h 2812217"/>
                  <a:gd name="connsiteX8" fmla="*/ 380996 w 2828737"/>
                  <a:gd name="connsiteY8" fmla="*/ 1526577 h 2812217"/>
                  <a:gd name="connsiteX9" fmla="*/ 672826 w 2828737"/>
                  <a:gd name="connsiteY9" fmla="*/ 1832998 h 2812217"/>
                  <a:gd name="connsiteX10" fmla="*/ 809012 w 2828737"/>
                  <a:gd name="connsiteY10" fmla="*/ 2202651 h 2812217"/>
                  <a:gd name="connsiteX11" fmla="*/ 916017 w 2828737"/>
                  <a:gd name="connsiteY11" fmla="*/ 2611211 h 2812217"/>
                  <a:gd name="connsiteX12" fmla="*/ 697144 w 2828737"/>
                  <a:gd name="connsiteY12" fmla="*/ 2800901 h 2812217"/>
                  <a:gd name="connsiteX13" fmla="*/ 502591 w 2828737"/>
                  <a:gd name="connsiteY13" fmla="*/ 2304792 h 2812217"/>
                  <a:gd name="connsiteX14" fmla="*/ 220488 w 2828737"/>
                  <a:gd name="connsiteY14" fmla="*/ 1823273 h 2812217"/>
                  <a:gd name="connsiteX15" fmla="*/ 98893 w 2828737"/>
                  <a:gd name="connsiteY15" fmla="*/ 1088833 h 2812217"/>
                  <a:gd name="connsiteX0" fmla="*/ 98893 w 2828737"/>
                  <a:gd name="connsiteY0" fmla="*/ 1088833 h 2812217"/>
                  <a:gd name="connsiteX1" fmla="*/ 988974 w 2828737"/>
                  <a:gd name="connsiteY1" fmla="*/ 116066 h 2812217"/>
                  <a:gd name="connsiteX2" fmla="*/ 1621272 w 2828737"/>
                  <a:gd name="connsiteY2" fmla="*/ 106339 h 2812217"/>
                  <a:gd name="connsiteX3" fmla="*/ 2550264 w 2828737"/>
                  <a:gd name="connsiteY3" fmla="*/ 237662 h 2812217"/>
                  <a:gd name="connsiteX4" fmla="*/ 2598902 w 2828737"/>
                  <a:gd name="connsiteY4" fmla="*/ 378715 h 2812217"/>
                  <a:gd name="connsiteX5" fmla="*/ 1548314 w 2828737"/>
                  <a:gd name="connsiteY5" fmla="*/ 461399 h 2812217"/>
                  <a:gd name="connsiteX6" fmla="*/ 1130024 w 2828737"/>
                  <a:gd name="connsiteY6" fmla="*/ 412761 h 2812217"/>
                  <a:gd name="connsiteX7" fmla="*/ 400450 w 2828737"/>
                  <a:gd name="connsiteY7" fmla="*/ 1225019 h 2812217"/>
                  <a:gd name="connsiteX8" fmla="*/ 380996 w 2828737"/>
                  <a:gd name="connsiteY8" fmla="*/ 1526577 h 2812217"/>
                  <a:gd name="connsiteX9" fmla="*/ 672826 w 2828737"/>
                  <a:gd name="connsiteY9" fmla="*/ 1832998 h 2812217"/>
                  <a:gd name="connsiteX10" fmla="*/ 809012 w 2828737"/>
                  <a:gd name="connsiteY10" fmla="*/ 2202651 h 2812217"/>
                  <a:gd name="connsiteX11" fmla="*/ 916017 w 2828737"/>
                  <a:gd name="connsiteY11" fmla="*/ 2611211 h 2812217"/>
                  <a:gd name="connsiteX12" fmla="*/ 697144 w 2828737"/>
                  <a:gd name="connsiteY12" fmla="*/ 2800901 h 2812217"/>
                  <a:gd name="connsiteX13" fmla="*/ 502591 w 2828737"/>
                  <a:gd name="connsiteY13" fmla="*/ 2304792 h 2812217"/>
                  <a:gd name="connsiteX14" fmla="*/ 220488 w 2828737"/>
                  <a:gd name="connsiteY14" fmla="*/ 1823273 h 2812217"/>
                  <a:gd name="connsiteX15" fmla="*/ 98893 w 2828737"/>
                  <a:gd name="connsiteY15" fmla="*/ 1088833 h 2812217"/>
                  <a:gd name="connsiteX0" fmla="*/ 98893 w 2828737"/>
                  <a:gd name="connsiteY0" fmla="*/ 1088833 h 2812217"/>
                  <a:gd name="connsiteX1" fmla="*/ 988974 w 2828737"/>
                  <a:gd name="connsiteY1" fmla="*/ 116066 h 2812217"/>
                  <a:gd name="connsiteX2" fmla="*/ 1621272 w 2828737"/>
                  <a:gd name="connsiteY2" fmla="*/ 106339 h 2812217"/>
                  <a:gd name="connsiteX3" fmla="*/ 2550264 w 2828737"/>
                  <a:gd name="connsiteY3" fmla="*/ 237662 h 2812217"/>
                  <a:gd name="connsiteX4" fmla="*/ 2598902 w 2828737"/>
                  <a:gd name="connsiteY4" fmla="*/ 378715 h 2812217"/>
                  <a:gd name="connsiteX5" fmla="*/ 1548314 w 2828737"/>
                  <a:gd name="connsiteY5" fmla="*/ 461399 h 2812217"/>
                  <a:gd name="connsiteX6" fmla="*/ 1130024 w 2828737"/>
                  <a:gd name="connsiteY6" fmla="*/ 412761 h 2812217"/>
                  <a:gd name="connsiteX7" fmla="*/ 400450 w 2828737"/>
                  <a:gd name="connsiteY7" fmla="*/ 1225019 h 2812217"/>
                  <a:gd name="connsiteX8" fmla="*/ 380996 w 2828737"/>
                  <a:gd name="connsiteY8" fmla="*/ 1526577 h 2812217"/>
                  <a:gd name="connsiteX9" fmla="*/ 672826 w 2828737"/>
                  <a:gd name="connsiteY9" fmla="*/ 1832998 h 2812217"/>
                  <a:gd name="connsiteX10" fmla="*/ 809012 w 2828737"/>
                  <a:gd name="connsiteY10" fmla="*/ 2202651 h 2812217"/>
                  <a:gd name="connsiteX11" fmla="*/ 916017 w 2828737"/>
                  <a:gd name="connsiteY11" fmla="*/ 2611211 h 2812217"/>
                  <a:gd name="connsiteX12" fmla="*/ 697144 w 2828737"/>
                  <a:gd name="connsiteY12" fmla="*/ 2800901 h 2812217"/>
                  <a:gd name="connsiteX13" fmla="*/ 502591 w 2828737"/>
                  <a:gd name="connsiteY13" fmla="*/ 2304792 h 2812217"/>
                  <a:gd name="connsiteX14" fmla="*/ 220488 w 2828737"/>
                  <a:gd name="connsiteY14" fmla="*/ 1823273 h 2812217"/>
                  <a:gd name="connsiteX15" fmla="*/ 98893 w 2828737"/>
                  <a:gd name="connsiteY15" fmla="*/ 1088833 h 2812217"/>
                  <a:gd name="connsiteX0" fmla="*/ 98893 w 2828737"/>
                  <a:gd name="connsiteY0" fmla="*/ 1088833 h 2812217"/>
                  <a:gd name="connsiteX1" fmla="*/ 988974 w 2828737"/>
                  <a:gd name="connsiteY1" fmla="*/ 116066 h 2812217"/>
                  <a:gd name="connsiteX2" fmla="*/ 1621272 w 2828737"/>
                  <a:gd name="connsiteY2" fmla="*/ 106339 h 2812217"/>
                  <a:gd name="connsiteX3" fmla="*/ 2550264 w 2828737"/>
                  <a:gd name="connsiteY3" fmla="*/ 237662 h 2812217"/>
                  <a:gd name="connsiteX4" fmla="*/ 2598902 w 2828737"/>
                  <a:gd name="connsiteY4" fmla="*/ 378715 h 2812217"/>
                  <a:gd name="connsiteX5" fmla="*/ 1548314 w 2828737"/>
                  <a:gd name="connsiteY5" fmla="*/ 461399 h 2812217"/>
                  <a:gd name="connsiteX6" fmla="*/ 1130024 w 2828737"/>
                  <a:gd name="connsiteY6" fmla="*/ 412761 h 2812217"/>
                  <a:gd name="connsiteX7" fmla="*/ 400450 w 2828737"/>
                  <a:gd name="connsiteY7" fmla="*/ 1225019 h 2812217"/>
                  <a:gd name="connsiteX8" fmla="*/ 380996 w 2828737"/>
                  <a:gd name="connsiteY8" fmla="*/ 1526577 h 2812217"/>
                  <a:gd name="connsiteX9" fmla="*/ 672826 w 2828737"/>
                  <a:gd name="connsiteY9" fmla="*/ 1832998 h 2812217"/>
                  <a:gd name="connsiteX10" fmla="*/ 809012 w 2828737"/>
                  <a:gd name="connsiteY10" fmla="*/ 2202651 h 2812217"/>
                  <a:gd name="connsiteX11" fmla="*/ 916017 w 2828737"/>
                  <a:gd name="connsiteY11" fmla="*/ 2611211 h 2812217"/>
                  <a:gd name="connsiteX12" fmla="*/ 697144 w 2828737"/>
                  <a:gd name="connsiteY12" fmla="*/ 2800901 h 2812217"/>
                  <a:gd name="connsiteX13" fmla="*/ 502591 w 2828737"/>
                  <a:gd name="connsiteY13" fmla="*/ 2304792 h 2812217"/>
                  <a:gd name="connsiteX14" fmla="*/ 220488 w 2828737"/>
                  <a:gd name="connsiteY14" fmla="*/ 1823273 h 2812217"/>
                  <a:gd name="connsiteX15" fmla="*/ 98893 w 2828737"/>
                  <a:gd name="connsiteY15" fmla="*/ 1088833 h 2812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28737" h="2812217">
                    <a:moveTo>
                      <a:pt x="98893" y="1088833"/>
                    </a:moveTo>
                    <a:lnTo>
                      <a:pt x="988974" y="116066"/>
                    </a:lnTo>
                    <a:cubicBezTo>
                      <a:pt x="1237028" y="-91457"/>
                      <a:pt x="1475359" y="26896"/>
                      <a:pt x="1621272" y="106339"/>
                    </a:cubicBezTo>
                    <a:cubicBezTo>
                      <a:pt x="1810961" y="223070"/>
                      <a:pt x="1859599" y="480854"/>
                      <a:pt x="2550264" y="237662"/>
                    </a:cubicBezTo>
                    <a:cubicBezTo>
                      <a:pt x="3031783" y="163893"/>
                      <a:pt x="2780485" y="263604"/>
                      <a:pt x="2598902" y="378715"/>
                    </a:cubicBezTo>
                    <a:cubicBezTo>
                      <a:pt x="2388135" y="493827"/>
                      <a:pt x="2276268" y="900764"/>
                      <a:pt x="1548314" y="461399"/>
                    </a:cubicBezTo>
                    <a:cubicBezTo>
                      <a:pt x="1345654" y="231178"/>
                      <a:pt x="1191633" y="331698"/>
                      <a:pt x="1130024" y="412761"/>
                    </a:cubicBezTo>
                    <a:lnTo>
                      <a:pt x="400450" y="1225019"/>
                    </a:lnTo>
                    <a:cubicBezTo>
                      <a:pt x="269938" y="1340129"/>
                      <a:pt x="328305" y="1447946"/>
                      <a:pt x="380996" y="1526577"/>
                    </a:cubicBezTo>
                    <a:cubicBezTo>
                      <a:pt x="462061" y="1650605"/>
                      <a:pt x="544746" y="1661953"/>
                      <a:pt x="672826" y="1832998"/>
                    </a:cubicBezTo>
                    <a:cubicBezTo>
                      <a:pt x="812256" y="1950541"/>
                      <a:pt x="781450" y="2086730"/>
                      <a:pt x="809012" y="2202651"/>
                    </a:cubicBezTo>
                    <a:cubicBezTo>
                      <a:pt x="831709" y="2401257"/>
                      <a:pt x="895751" y="2530959"/>
                      <a:pt x="916017" y="2611211"/>
                    </a:cubicBezTo>
                    <a:cubicBezTo>
                      <a:pt x="821171" y="2696329"/>
                      <a:pt x="678499" y="2856024"/>
                      <a:pt x="697144" y="2800901"/>
                    </a:cubicBezTo>
                    <a:cubicBezTo>
                      <a:pt x="628240" y="2749831"/>
                      <a:pt x="554471" y="2548794"/>
                      <a:pt x="502591" y="2304792"/>
                    </a:cubicBezTo>
                    <a:cubicBezTo>
                      <a:pt x="513940" y="1968378"/>
                      <a:pt x="326682" y="1955407"/>
                      <a:pt x="220488" y="1823273"/>
                    </a:cubicBezTo>
                    <a:cubicBezTo>
                      <a:pt x="-85124" y="1523337"/>
                      <a:pt x="-19460" y="1384716"/>
                      <a:pt x="98893" y="1088833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" name="Freeform 159"/>
              <p:cNvSpPr/>
              <p:nvPr/>
            </p:nvSpPr>
            <p:spPr>
              <a:xfrm rot="13561719">
                <a:off x="6341262" y="5043081"/>
                <a:ext cx="114059" cy="51628"/>
              </a:xfrm>
              <a:custGeom>
                <a:avLst/>
                <a:gdLst>
                  <a:gd name="connsiteX0" fmla="*/ 2919340 w 3034342"/>
                  <a:gd name="connsiteY0" fmla="*/ 983691 h 1373490"/>
                  <a:gd name="connsiteX1" fmla="*/ 2641702 w 3034342"/>
                  <a:gd name="connsiteY1" fmla="*/ 1098692 h 1373490"/>
                  <a:gd name="connsiteX2" fmla="*/ 2641703 w 3034342"/>
                  <a:gd name="connsiteY2" fmla="*/ 1098691 h 1373490"/>
                  <a:gd name="connsiteX3" fmla="*/ 2279920 w 3034342"/>
                  <a:gd name="connsiteY3" fmla="*/ 858885 h 1373490"/>
                  <a:gd name="connsiteX4" fmla="*/ 2265342 w 3034342"/>
                  <a:gd name="connsiteY4" fmla="*/ 811923 h 1373490"/>
                  <a:gd name="connsiteX5" fmla="*/ 2261956 w 3034342"/>
                  <a:gd name="connsiteY5" fmla="*/ 822831 h 1373490"/>
                  <a:gd name="connsiteX6" fmla="*/ 2174458 w 3034342"/>
                  <a:gd name="connsiteY6" fmla="*/ 952607 h 1373490"/>
                  <a:gd name="connsiteX7" fmla="*/ 1885762 w 3034342"/>
                  <a:gd name="connsiteY7" fmla="*/ 1072190 h 1373490"/>
                  <a:gd name="connsiteX8" fmla="*/ 1885762 w 3034342"/>
                  <a:gd name="connsiteY8" fmla="*/ 1072189 h 1373490"/>
                  <a:gd name="connsiteX9" fmla="*/ 1547211 w 3034342"/>
                  <a:gd name="connsiteY9" fmla="*/ 892182 h 1373490"/>
                  <a:gd name="connsiteX10" fmla="*/ 1543596 w 3034342"/>
                  <a:gd name="connsiteY10" fmla="*/ 885521 h 1373490"/>
                  <a:gd name="connsiteX11" fmla="*/ 1540499 w 3034342"/>
                  <a:gd name="connsiteY11" fmla="*/ 916235 h 1373490"/>
                  <a:gd name="connsiteX12" fmla="*/ 1433405 w 3034342"/>
                  <a:gd name="connsiteY12" fmla="*/ 1114872 h 1373490"/>
                  <a:gd name="connsiteX13" fmla="*/ 1155585 w 3034342"/>
                  <a:gd name="connsiteY13" fmla="*/ 1229949 h 1373490"/>
                  <a:gd name="connsiteX14" fmla="*/ 1114820 w 3034342"/>
                  <a:gd name="connsiteY14" fmla="*/ 1229949 h 1373490"/>
                  <a:gd name="connsiteX15" fmla="*/ 789023 w 3034342"/>
                  <a:gd name="connsiteY15" fmla="*/ 1056724 h 1373490"/>
                  <a:gd name="connsiteX16" fmla="*/ 787530 w 3034342"/>
                  <a:gd name="connsiteY16" fmla="*/ 1053973 h 1373490"/>
                  <a:gd name="connsiteX17" fmla="*/ 768370 w 3034342"/>
                  <a:gd name="connsiteY17" fmla="*/ 1118431 h 1373490"/>
                  <a:gd name="connsiteX18" fmla="*/ 399898 w 3034342"/>
                  <a:gd name="connsiteY18" fmla="*/ 1373490 h 1373490"/>
                  <a:gd name="connsiteX19" fmla="*/ 0 w 3034342"/>
                  <a:gd name="connsiteY19" fmla="*/ 955877 h 1373490"/>
                  <a:gd name="connsiteX20" fmla="*/ 399898 w 3034342"/>
                  <a:gd name="connsiteY20" fmla="*/ 538264 h 1373490"/>
                  <a:gd name="connsiteX21" fmla="*/ 682669 w 3034342"/>
                  <a:gd name="connsiteY21" fmla="*/ 660580 h 1373490"/>
                  <a:gd name="connsiteX22" fmla="*/ 721923 w 3034342"/>
                  <a:gd name="connsiteY22" fmla="*/ 710264 h 1373490"/>
                  <a:gd name="connsiteX23" fmla="*/ 721923 w 3034342"/>
                  <a:gd name="connsiteY23" fmla="*/ 662287 h 1373490"/>
                  <a:gd name="connsiteX24" fmla="*/ 1114820 w 3034342"/>
                  <a:gd name="connsiteY24" fmla="*/ 269390 h 1373490"/>
                  <a:gd name="connsiteX25" fmla="*/ 1155585 w 3034342"/>
                  <a:gd name="connsiteY25" fmla="*/ 269390 h 1373490"/>
                  <a:gd name="connsiteX26" fmla="*/ 1433405 w 3034342"/>
                  <a:gd name="connsiteY26" fmla="*/ 384467 h 1373490"/>
                  <a:gd name="connsiteX27" fmla="*/ 1477483 w 3034342"/>
                  <a:gd name="connsiteY27" fmla="*/ 437891 h 1373490"/>
                  <a:gd name="connsiteX28" fmla="*/ 1477483 w 3034342"/>
                  <a:gd name="connsiteY28" fmla="*/ 408279 h 1373490"/>
                  <a:gd name="connsiteX29" fmla="*/ 1885762 w 3034342"/>
                  <a:gd name="connsiteY29" fmla="*/ 0 h 1373490"/>
                  <a:gd name="connsiteX30" fmla="*/ 2285747 w 3034342"/>
                  <a:gd name="connsiteY30" fmla="*/ 325996 h 1373490"/>
                  <a:gd name="connsiteX31" fmla="*/ 2290609 w 3034342"/>
                  <a:gd name="connsiteY31" fmla="*/ 374229 h 1373490"/>
                  <a:gd name="connsiteX32" fmla="*/ 2316121 w 3034342"/>
                  <a:gd name="connsiteY32" fmla="*/ 327227 h 1373490"/>
                  <a:gd name="connsiteX33" fmla="*/ 2641703 w 3034342"/>
                  <a:gd name="connsiteY33" fmla="*/ 154117 h 1373490"/>
                  <a:gd name="connsiteX34" fmla="*/ 3034342 w 3034342"/>
                  <a:gd name="connsiteY34" fmla="*/ 546756 h 1373490"/>
                  <a:gd name="connsiteX35" fmla="*/ 3034341 w 3034342"/>
                  <a:gd name="connsiteY35" fmla="*/ 706053 h 1373490"/>
                  <a:gd name="connsiteX36" fmla="*/ 2919340 w 3034342"/>
                  <a:gd name="connsiteY36" fmla="*/ 983691 h 1373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3034342" h="1373490">
                    <a:moveTo>
                      <a:pt x="2919340" y="983691"/>
                    </a:moveTo>
                    <a:cubicBezTo>
                      <a:pt x="2848286" y="1054744"/>
                      <a:pt x="2750127" y="1098692"/>
                      <a:pt x="2641702" y="1098692"/>
                    </a:cubicBezTo>
                    <a:lnTo>
                      <a:pt x="2641703" y="1098691"/>
                    </a:lnTo>
                    <a:cubicBezTo>
                      <a:pt x="2479067" y="1098691"/>
                      <a:pt x="2339525" y="999809"/>
                      <a:pt x="2279920" y="858885"/>
                    </a:cubicBezTo>
                    <a:lnTo>
                      <a:pt x="2265342" y="811923"/>
                    </a:lnTo>
                    <a:lnTo>
                      <a:pt x="2261956" y="822831"/>
                    </a:lnTo>
                    <a:cubicBezTo>
                      <a:pt x="2241296" y="871677"/>
                      <a:pt x="2211400" y="915665"/>
                      <a:pt x="2174458" y="952607"/>
                    </a:cubicBezTo>
                    <a:cubicBezTo>
                      <a:pt x="2100574" y="1026491"/>
                      <a:pt x="1998504" y="1072190"/>
                      <a:pt x="1885762" y="1072190"/>
                    </a:cubicBezTo>
                    <a:lnTo>
                      <a:pt x="1885762" y="1072189"/>
                    </a:lnTo>
                    <a:cubicBezTo>
                      <a:pt x="1744834" y="1072189"/>
                      <a:pt x="1620582" y="1000785"/>
                      <a:pt x="1547211" y="892182"/>
                    </a:cubicBezTo>
                    <a:lnTo>
                      <a:pt x="1543596" y="885521"/>
                    </a:lnTo>
                    <a:lnTo>
                      <a:pt x="1540499" y="916235"/>
                    </a:lnTo>
                    <a:cubicBezTo>
                      <a:pt x="1524798" y="992965"/>
                      <a:pt x="1486730" y="1061547"/>
                      <a:pt x="1433405" y="1114872"/>
                    </a:cubicBezTo>
                    <a:cubicBezTo>
                      <a:pt x="1362305" y="1185973"/>
                      <a:pt x="1264080" y="1229949"/>
                      <a:pt x="1155585" y="1229949"/>
                    </a:cubicBezTo>
                    <a:lnTo>
                      <a:pt x="1114820" y="1229949"/>
                    </a:lnTo>
                    <a:cubicBezTo>
                      <a:pt x="979200" y="1229949"/>
                      <a:pt x="859630" y="1161236"/>
                      <a:pt x="789023" y="1056724"/>
                    </a:cubicBezTo>
                    <a:lnTo>
                      <a:pt x="787530" y="1053973"/>
                    </a:lnTo>
                    <a:lnTo>
                      <a:pt x="768370" y="1118431"/>
                    </a:lnTo>
                    <a:cubicBezTo>
                      <a:pt x="707662" y="1268318"/>
                      <a:pt x="565541" y="1373490"/>
                      <a:pt x="399898" y="1373490"/>
                    </a:cubicBezTo>
                    <a:cubicBezTo>
                      <a:pt x="179040" y="1373490"/>
                      <a:pt x="0" y="1186518"/>
                      <a:pt x="0" y="955877"/>
                    </a:cubicBezTo>
                    <a:cubicBezTo>
                      <a:pt x="0" y="725236"/>
                      <a:pt x="179040" y="538264"/>
                      <a:pt x="399898" y="538264"/>
                    </a:cubicBezTo>
                    <a:cubicBezTo>
                      <a:pt x="510327" y="538264"/>
                      <a:pt x="610301" y="585007"/>
                      <a:pt x="682669" y="660580"/>
                    </a:cubicBezTo>
                    <a:lnTo>
                      <a:pt x="721923" y="710264"/>
                    </a:lnTo>
                    <a:lnTo>
                      <a:pt x="721923" y="662287"/>
                    </a:lnTo>
                    <a:cubicBezTo>
                      <a:pt x="721923" y="445296"/>
                      <a:pt x="897829" y="269390"/>
                      <a:pt x="1114820" y="269390"/>
                    </a:cubicBezTo>
                    <a:lnTo>
                      <a:pt x="1155585" y="269390"/>
                    </a:lnTo>
                    <a:cubicBezTo>
                      <a:pt x="1264080" y="269390"/>
                      <a:pt x="1362304" y="313367"/>
                      <a:pt x="1433405" y="384467"/>
                    </a:cubicBezTo>
                    <a:lnTo>
                      <a:pt x="1477483" y="437891"/>
                    </a:lnTo>
                    <a:lnTo>
                      <a:pt x="1477483" y="408279"/>
                    </a:lnTo>
                    <a:cubicBezTo>
                      <a:pt x="1477483" y="182793"/>
                      <a:pt x="1660277" y="0"/>
                      <a:pt x="1885762" y="0"/>
                    </a:cubicBezTo>
                    <a:cubicBezTo>
                      <a:pt x="2083063" y="0"/>
                      <a:pt x="2247676" y="139951"/>
                      <a:pt x="2285747" y="325996"/>
                    </a:cubicBezTo>
                    <a:lnTo>
                      <a:pt x="2290609" y="374229"/>
                    </a:lnTo>
                    <a:lnTo>
                      <a:pt x="2316121" y="327227"/>
                    </a:lnTo>
                    <a:cubicBezTo>
                      <a:pt x="2386681" y="222784"/>
                      <a:pt x="2506173" y="154117"/>
                      <a:pt x="2641703" y="154117"/>
                    </a:cubicBezTo>
                    <a:cubicBezTo>
                      <a:pt x="2858552" y="154117"/>
                      <a:pt x="3034342" y="329907"/>
                      <a:pt x="3034342" y="546756"/>
                    </a:cubicBezTo>
                    <a:cubicBezTo>
                      <a:pt x="3034342" y="599855"/>
                      <a:pt x="3034341" y="652954"/>
                      <a:pt x="3034341" y="706053"/>
                    </a:cubicBezTo>
                    <a:cubicBezTo>
                      <a:pt x="3034341" y="814477"/>
                      <a:pt x="2990394" y="912637"/>
                      <a:pt x="2919340" y="983691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" name="Rectangle 4"/>
              <p:cNvSpPr/>
              <p:nvPr/>
            </p:nvSpPr>
            <p:spPr>
              <a:xfrm>
                <a:off x="6454472" y="4974648"/>
                <a:ext cx="83446" cy="136386"/>
              </a:xfrm>
              <a:custGeom>
                <a:avLst/>
                <a:gdLst>
                  <a:gd name="connsiteX0" fmla="*/ 0 w 1431890"/>
                  <a:gd name="connsiteY0" fmla="*/ 0 h 2160396"/>
                  <a:gd name="connsiteX1" fmla="*/ 1431890 w 1431890"/>
                  <a:gd name="connsiteY1" fmla="*/ 0 h 2160396"/>
                  <a:gd name="connsiteX2" fmla="*/ 1431890 w 1431890"/>
                  <a:gd name="connsiteY2" fmla="*/ 2160396 h 2160396"/>
                  <a:gd name="connsiteX3" fmla="*/ 0 w 1431890"/>
                  <a:gd name="connsiteY3" fmla="*/ 2160396 h 2160396"/>
                  <a:gd name="connsiteX4" fmla="*/ 0 w 1431890"/>
                  <a:gd name="connsiteY4" fmla="*/ 0 h 2160396"/>
                  <a:gd name="connsiteX0" fmla="*/ 266282 w 1698172"/>
                  <a:gd name="connsiteY0" fmla="*/ 0 h 2356338"/>
                  <a:gd name="connsiteX1" fmla="*/ 1698172 w 1698172"/>
                  <a:gd name="connsiteY1" fmla="*/ 0 h 2356338"/>
                  <a:gd name="connsiteX2" fmla="*/ 1698172 w 1698172"/>
                  <a:gd name="connsiteY2" fmla="*/ 2160396 h 2356338"/>
                  <a:gd name="connsiteX3" fmla="*/ 0 w 1698172"/>
                  <a:gd name="connsiteY3" fmla="*/ 2356338 h 2356338"/>
                  <a:gd name="connsiteX4" fmla="*/ 266282 w 1698172"/>
                  <a:gd name="connsiteY4" fmla="*/ 0 h 2356338"/>
                  <a:gd name="connsiteX0" fmla="*/ 266282 w 1698172"/>
                  <a:gd name="connsiteY0" fmla="*/ 0 h 2356338"/>
                  <a:gd name="connsiteX1" fmla="*/ 1698172 w 1698172"/>
                  <a:gd name="connsiteY1" fmla="*/ 0 h 2356338"/>
                  <a:gd name="connsiteX2" fmla="*/ 839038 w 1698172"/>
                  <a:gd name="connsiteY2" fmla="*/ 2105130 h 2356338"/>
                  <a:gd name="connsiteX3" fmla="*/ 0 w 1698172"/>
                  <a:gd name="connsiteY3" fmla="*/ 2356338 h 2356338"/>
                  <a:gd name="connsiteX4" fmla="*/ 266282 w 1698172"/>
                  <a:gd name="connsiteY4" fmla="*/ 0 h 2356338"/>
                  <a:gd name="connsiteX0" fmla="*/ 266282 w 1698172"/>
                  <a:gd name="connsiteY0" fmla="*/ 0 h 2392578"/>
                  <a:gd name="connsiteX1" fmla="*/ 1698172 w 1698172"/>
                  <a:gd name="connsiteY1" fmla="*/ 0 h 2392578"/>
                  <a:gd name="connsiteX2" fmla="*/ 839038 w 1698172"/>
                  <a:gd name="connsiteY2" fmla="*/ 2105130 h 2392578"/>
                  <a:gd name="connsiteX3" fmla="*/ 0 w 1698172"/>
                  <a:gd name="connsiteY3" fmla="*/ 2356338 h 2392578"/>
                  <a:gd name="connsiteX4" fmla="*/ 266282 w 1698172"/>
                  <a:gd name="connsiteY4" fmla="*/ 0 h 2392578"/>
                  <a:gd name="connsiteX0" fmla="*/ 266282 w 1698172"/>
                  <a:gd name="connsiteY0" fmla="*/ 0 h 2464004"/>
                  <a:gd name="connsiteX1" fmla="*/ 1698172 w 1698172"/>
                  <a:gd name="connsiteY1" fmla="*/ 0 h 2464004"/>
                  <a:gd name="connsiteX2" fmla="*/ 839038 w 1698172"/>
                  <a:gd name="connsiteY2" fmla="*/ 2105130 h 2464004"/>
                  <a:gd name="connsiteX3" fmla="*/ 0 w 1698172"/>
                  <a:gd name="connsiteY3" fmla="*/ 2356338 h 2464004"/>
                  <a:gd name="connsiteX4" fmla="*/ 266282 w 1698172"/>
                  <a:gd name="connsiteY4" fmla="*/ 0 h 2464004"/>
                  <a:gd name="connsiteX0" fmla="*/ 266282 w 1698172"/>
                  <a:gd name="connsiteY0" fmla="*/ 0 h 2458914"/>
                  <a:gd name="connsiteX1" fmla="*/ 1698172 w 1698172"/>
                  <a:gd name="connsiteY1" fmla="*/ 0 h 2458914"/>
                  <a:gd name="connsiteX2" fmla="*/ 839038 w 1698172"/>
                  <a:gd name="connsiteY2" fmla="*/ 2105130 h 2458914"/>
                  <a:gd name="connsiteX3" fmla="*/ 0 w 1698172"/>
                  <a:gd name="connsiteY3" fmla="*/ 2356338 h 2458914"/>
                  <a:gd name="connsiteX4" fmla="*/ 266282 w 1698172"/>
                  <a:gd name="connsiteY4" fmla="*/ 0 h 2458914"/>
                  <a:gd name="connsiteX0" fmla="*/ 266282 w 1698172"/>
                  <a:gd name="connsiteY0" fmla="*/ 0 h 2458914"/>
                  <a:gd name="connsiteX1" fmla="*/ 1698172 w 1698172"/>
                  <a:gd name="connsiteY1" fmla="*/ 0 h 2458914"/>
                  <a:gd name="connsiteX2" fmla="*/ 839038 w 1698172"/>
                  <a:gd name="connsiteY2" fmla="*/ 2105130 h 2458914"/>
                  <a:gd name="connsiteX3" fmla="*/ 0 w 1698172"/>
                  <a:gd name="connsiteY3" fmla="*/ 2356338 h 2458914"/>
                  <a:gd name="connsiteX4" fmla="*/ 90436 w 1698172"/>
                  <a:gd name="connsiteY4" fmla="*/ 1502229 h 2458914"/>
                  <a:gd name="connsiteX5" fmla="*/ 266282 w 1698172"/>
                  <a:gd name="connsiteY5" fmla="*/ 0 h 2458914"/>
                  <a:gd name="connsiteX0" fmla="*/ 266282 w 1698172"/>
                  <a:gd name="connsiteY0" fmla="*/ 0 h 2458914"/>
                  <a:gd name="connsiteX1" fmla="*/ 1698172 w 1698172"/>
                  <a:gd name="connsiteY1" fmla="*/ 0 h 2458914"/>
                  <a:gd name="connsiteX2" fmla="*/ 839038 w 1698172"/>
                  <a:gd name="connsiteY2" fmla="*/ 2105130 h 2458914"/>
                  <a:gd name="connsiteX3" fmla="*/ 0 w 1698172"/>
                  <a:gd name="connsiteY3" fmla="*/ 2356338 h 2458914"/>
                  <a:gd name="connsiteX4" fmla="*/ 542612 w 1698172"/>
                  <a:gd name="connsiteY4" fmla="*/ 1924260 h 2458914"/>
                  <a:gd name="connsiteX5" fmla="*/ 266282 w 1698172"/>
                  <a:gd name="connsiteY5" fmla="*/ 0 h 2458914"/>
                  <a:gd name="connsiteX0" fmla="*/ 266282 w 1698172"/>
                  <a:gd name="connsiteY0" fmla="*/ 0 h 2458914"/>
                  <a:gd name="connsiteX1" fmla="*/ 1698172 w 1698172"/>
                  <a:gd name="connsiteY1" fmla="*/ 0 h 2458914"/>
                  <a:gd name="connsiteX2" fmla="*/ 839038 w 1698172"/>
                  <a:gd name="connsiteY2" fmla="*/ 2105130 h 2458914"/>
                  <a:gd name="connsiteX3" fmla="*/ 0 w 1698172"/>
                  <a:gd name="connsiteY3" fmla="*/ 2356338 h 2458914"/>
                  <a:gd name="connsiteX4" fmla="*/ 226089 w 1698172"/>
                  <a:gd name="connsiteY4" fmla="*/ 2170444 h 2458914"/>
                  <a:gd name="connsiteX5" fmla="*/ 542612 w 1698172"/>
                  <a:gd name="connsiteY5" fmla="*/ 1924260 h 2458914"/>
                  <a:gd name="connsiteX6" fmla="*/ 266282 w 1698172"/>
                  <a:gd name="connsiteY6" fmla="*/ 0 h 2458914"/>
                  <a:gd name="connsiteX0" fmla="*/ 266282 w 1698172"/>
                  <a:gd name="connsiteY0" fmla="*/ 0 h 2458914"/>
                  <a:gd name="connsiteX1" fmla="*/ 1698172 w 1698172"/>
                  <a:gd name="connsiteY1" fmla="*/ 0 h 2458914"/>
                  <a:gd name="connsiteX2" fmla="*/ 839038 w 1698172"/>
                  <a:gd name="connsiteY2" fmla="*/ 2105130 h 2458914"/>
                  <a:gd name="connsiteX3" fmla="*/ 0 w 1698172"/>
                  <a:gd name="connsiteY3" fmla="*/ 2356338 h 2458914"/>
                  <a:gd name="connsiteX4" fmla="*/ 110533 w 1698172"/>
                  <a:gd name="connsiteY4" fmla="*/ 2044840 h 2458914"/>
                  <a:gd name="connsiteX5" fmla="*/ 542612 w 1698172"/>
                  <a:gd name="connsiteY5" fmla="*/ 1924260 h 2458914"/>
                  <a:gd name="connsiteX6" fmla="*/ 266282 w 1698172"/>
                  <a:gd name="connsiteY6" fmla="*/ 0 h 2458914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864159 w 1723293"/>
                  <a:gd name="connsiteY2" fmla="*/ 2105130 h 2453208"/>
                  <a:gd name="connsiteX3" fmla="*/ 0 w 1723293"/>
                  <a:gd name="connsiteY3" fmla="*/ 2346290 h 2453208"/>
                  <a:gd name="connsiteX4" fmla="*/ 135654 w 1723293"/>
                  <a:gd name="connsiteY4" fmla="*/ 2044840 h 2453208"/>
                  <a:gd name="connsiteX5" fmla="*/ 567733 w 1723293"/>
                  <a:gd name="connsiteY5" fmla="*/ 1924260 h 2453208"/>
                  <a:gd name="connsiteX6" fmla="*/ 291403 w 1723293"/>
                  <a:gd name="connsiteY6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864159 w 1723293"/>
                  <a:gd name="connsiteY2" fmla="*/ 2105130 h 2453208"/>
                  <a:gd name="connsiteX3" fmla="*/ 0 w 1723293"/>
                  <a:gd name="connsiteY3" fmla="*/ 2346290 h 2453208"/>
                  <a:gd name="connsiteX4" fmla="*/ 135654 w 1723293"/>
                  <a:gd name="connsiteY4" fmla="*/ 2044840 h 2453208"/>
                  <a:gd name="connsiteX5" fmla="*/ 567733 w 1723293"/>
                  <a:gd name="connsiteY5" fmla="*/ 1924260 h 2453208"/>
                  <a:gd name="connsiteX6" fmla="*/ 291403 w 1723293"/>
                  <a:gd name="connsiteY6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864159 w 1723293"/>
                  <a:gd name="connsiteY2" fmla="*/ 2105130 h 2453208"/>
                  <a:gd name="connsiteX3" fmla="*/ 0 w 1723293"/>
                  <a:gd name="connsiteY3" fmla="*/ 2346290 h 2453208"/>
                  <a:gd name="connsiteX4" fmla="*/ 135654 w 1723293"/>
                  <a:gd name="connsiteY4" fmla="*/ 2044840 h 2453208"/>
                  <a:gd name="connsiteX5" fmla="*/ 567733 w 1723293"/>
                  <a:gd name="connsiteY5" fmla="*/ 1924260 h 2453208"/>
                  <a:gd name="connsiteX6" fmla="*/ 291403 w 1723293"/>
                  <a:gd name="connsiteY6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864159 w 1723293"/>
                  <a:gd name="connsiteY2" fmla="*/ 2105130 h 2453208"/>
                  <a:gd name="connsiteX3" fmla="*/ 0 w 1723293"/>
                  <a:gd name="connsiteY3" fmla="*/ 2346290 h 2453208"/>
                  <a:gd name="connsiteX4" fmla="*/ 135654 w 1723293"/>
                  <a:gd name="connsiteY4" fmla="*/ 2044840 h 2453208"/>
                  <a:gd name="connsiteX5" fmla="*/ 567733 w 1723293"/>
                  <a:gd name="connsiteY5" fmla="*/ 1924260 h 2453208"/>
                  <a:gd name="connsiteX6" fmla="*/ 291403 w 1723293"/>
                  <a:gd name="connsiteY6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864159 w 1723293"/>
                  <a:gd name="connsiteY2" fmla="*/ 2105130 h 2453208"/>
                  <a:gd name="connsiteX3" fmla="*/ 0 w 1723293"/>
                  <a:gd name="connsiteY3" fmla="*/ 2346290 h 2453208"/>
                  <a:gd name="connsiteX4" fmla="*/ 135654 w 1723293"/>
                  <a:gd name="connsiteY4" fmla="*/ 2044840 h 2453208"/>
                  <a:gd name="connsiteX5" fmla="*/ 567733 w 1723293"/>
                  <a:gd name="connsiteY5" fmla="*/ 1924260 h 2453208"/>
                  <a:gd name="connsiteX6" fmla="*/ 291403 w 1723293"/>
                  <a:gd name="connsiteY6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085224 w 1723293"/>
                  <a:gd name="connsiteY2" fmla="*/ 1542422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462037 w 1723293"/>
                  <a:gd name="connsiteY2" fmla="*/ 1698172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577593 w 1723293"/>
                  <a:gd name="connsiteY2" fmla="*/ 1833824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462037 w 1723293"/>
                  <a:gd name="connsiteY2" fmla="*/ 1703195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462037 w 1723293"/>
                  <a:gd name="connsiteY2" fmla="*/ 1703195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462037 w 1723293"/>
                  <a:gd name="connsiteY2" fmla="*/ 1703195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462037 w 1723293"/>
                  <a:gd name="connsiteY2" fmla="*/ 1703195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552473 w 1723293"/>
                  <a:gd name="connsiteY2" fmla="*/ 1034980 h 2453208"/>
                  <a:gd name="connsiteX3" fmla="*/ 1462037 w 1723293"/>
                  <a:gd name="connsiteY3" fmla="*/ 1703195 h 2453208"/>
                  <a:gd name="connsiteX4" fmla="*/ 864159 w 1723293"/>
                  <a:gd name="connsiteY4" fmla="*/ 2105130 h 2453208"/>
                  <a:gd name="connsiteX5" fmla="*/ 0 w 1723293"/>
                  <a:gd name="connsiteY5" fmla="*/ 2346290 h 2453208"/>
                  <a:gd name="connsiteX6" fmla="*/ 135654 w 1723293"/>
                  <a:gd name="connsiteY6" fmla="*/ 2044840 h 2453208"/>
                  <a:gd name="connsiteX7" fmla="*/ 567733 w 1723293"/>
                  <a:gd name="connsiteY7" fmla="*/ 1924260 h 2453208"/>
                  <a:gd name="connsiteX8" fmla="*/ 291403 w 1723293"/>
                  <a:gd name="connsiteY8" fmla="*/ 0 h 2453208"/>
                  <a:gd name="connsiteX0" fmla="*/ 291403 w 1919238"/>
                  <a:gd name="connsiteY0" fmla="*/ 0 h 2453208"/>
                  <a:gd name="connsiteX1" fmla="*/ 1723293 w 1919238"/>
                  <a:gd name="connsiteY1" fmla="*/ 0 h 2453208"/>
                  <a:gd name="connsiteX2" fmla="*/ 1919238 w 1919238"/>
                  <a:gd name="connsiteY2" fmla="*/ 1065125 h 2453208"/>
                  <a:gd name="connsiteX3" fmla="*/ 1462037 w 1919238"/>
                  <a:gd name="connsiteY3" fmla="*/ 1703195 h 2453208"/>
                  <a:gd name="connsiteX4" fmla="*/ 864159 w 1919238"/>
                  <a:gd name="connsiteY4" fmla="*/ 2105130 h 2453208"/>
                  <a:gd name="connsiteX5" fmla="*/ 0 w 1919238"/>
                  <a:gd name="connsiteY5" fmla="*/ 2346290 h 2453208"/>
                  <a:gd name="connsiteX6" fmla="*/ 135654 w 1919238"/>
                  <a:gd name="connsiteY6" fmla="*/ 2044840 h 2453208"/>
                  <a:gd name="connsiteX7" fmla="*/ 567733 w 1919238"/>
                  <a:gd name="connsiteY7" fmla="*/ 1924260 h 2453208"/>
                  <a:gd name="connsiteX8" fmla="*/ 291403 w 1919238"/>
                  <a:gd name="connsiteY8" fmla="*/ 0 h 2453208"/>
                  <a:gd name="connsiteX0" fmla="*/ 291403 w 1940010"/>
                  <a:gd name="connsiteY0" fmla="*/ 0 h 2453208"/>
                  <a:gd name="connsiteX1" fmla="*/ 1723293 w 1940010"/>
                  <a:gd name="connsiteY1" fmla="*/ 0 h 2453208"/>
                  <a:gd name="connsiteX2" fmla="*/ 1919238 w 1940010"/>
                  <a:gd name="connsiteY2" fmla="*/ 1065125 h 2453208"/>
                  <a:gd name="connsiteX3" fmla="*/ 1462037 w 1940010"/>
                  <a:gd name="connsiteY3" fmla="*/ 1703195 h 2453208"/>
                  <a:gd name="connsiteX4" fmla="*/ 864159 w 1940010"/>
                  <a:gd name="connsiteY4" fmla="*/ 2105130 h 2453208"/>
                  <a:gd name="connsiteX5" fmla="*/ 0 w 1940010"/>
                  <a:gd name="connsiteY5" fmla="*/ 2346290 h 2453208"/>
                  <a:gd name="connsiteX6" fmla="*/ 135654 w 1940010"/>
                  <a:gd name="connsiteY6" fmla="*/ 2044840 h 2453208"/>
                  <a:gd name="connsiteX7" fmla="*/ 567733 w 1940010"/>
                  <a:gd name="connsiteY7" fmla="*/ 1924260 h 2453208"/>
                  <a:gd name="connsiteX8" fmla="*/ 291403 w 1940010"/>
                  <a:gd name="connsiteY8" fmla="*/ 0 h 2453208"/>
                  <a:gd name="connsiteX0" fmla="*/ 291403 w 1939235"/>
                  <a:gd name="connsiteY0" fmla="*/ 0 h 2453208"/>
                  <a:gd name="connsiteX1" fmla="*/ 1723293 w 1939235"/>
                  <a:gd name="connsiteY1" fmla="*/ 0 h 2453208"/>
                  <a:gd name="connsiteX2" fmla="*/ 1919238 w 1939235"/>
                  <a:gd name="connsiteY2" fmla="*/ 1065125 h 2453208"/>
                  <a:gd name="connsiteX3" fmla="*/ 1441941 w 1939235"/>
                  <a:gd name="connsiteY3" fmla="*/ 1713244 h 2453208"/>
                  <a:gd name="connsiteX4" fmla="*/ 864159 w 1939235"/>
                  <a:gd name="connsiteY4" fmla="*/ 2105130 h 2453208"/>
                  <a:gd name="connsiteX5" fmla="*/ 0 w 1939235"/>
                  <a:gd name="connsiteY5" fmla="*/ 2346290 h 2453208"/>
                  <a:gd name="connsiteX6" fmla="*/ 135654 w 1939235"/>
                  <a:gd name="connsiteY6" fmla="*/ 2044840 h 2453208"/>
                  <a:gd name="connsiteX7" fmla="*/ 567733 w 1939235"/>
                  <a:gd name="connsiteY7" fmla="*/ 1924260 h 2453208"/>
                  <a:gd name="connsiteX8" fmla="*/ 291403 w 1939235"/>
                  <a:gd name="connsiteY8" fmla="*/ 0 h 2453208"/>
                  <a:gd name="connsiteX0" fmla="*/ 291403 w 1938883"/>
                  <a:gd name="connsiteY0" fmla="*/ 0 h 2453208"/>
                  <a:gd name="connsiteX1" fmla="*/ 1723293 w 1938883"/>
                  <a:gd name="connsiteY1" fmla="*/ 0 h 2453208"/>
                  <a:gd name="connsiteX2" fmla="*/ 1919238 w 1938883"/>
                  <a:gd name="connsiteY2" fmla="*/ 1065125 h 2453208"/>
                  <a:gd name="connsiteX3" fmla="*/ 1441941 w 1938883"/>
                  <a:gd name="connsiteY3" fmla="*/ 1713244 h 2453208"/>
                  <a:gd name="connsiteX4" fmla="*/ 864159 w 1938883"/>
                  <a:gd name="connsiteY4" fmla="*/ 2105130 h 2453208"/>
                  <a:gd name="connsiteX5" fmla="*/ 0 w 1938883"/>
                  <a:gd name="connsiteY5" fmla="*/ 2346290 h 2453208"/>
                  <a:gd name="connsiteX6" fmla="*/ 135654 w 1938883"/>
                  <a:gd name="connsiteY6" fmla="*/ 2044840 h 2453208"/>
                  <a:gd name="connsiteX7" fmla="*/ 567733 w 1938883"/>
                  <a:gd name="connsiteY7" fmla="*/ 1924260 h 2453208"/>
                  <a:gd name="connsiteX8" fmla="*/ 291403 w 1938883"/>
                  <a:gd name="connsiteY8" fmla="*/ 0 h 2453208"/>
                  <a:gd name="connsiteX0" fmla="*/ 291403 w 1938704"/>
                  <a:gd name="connsiteY0" fmla="*/ 0 h 2453208"/>
                  <a:gd name="connsiteX1" fmla="*/ 1723293 w 1938704"/>
                  <a:gd name="connsiteY1" fmla="*/ 0 h 2453208"/>
                  <a:gd name="connsiteX2" fmla="*/ 1919238 w 1938704"/>
                  <a:gd name="connsiteY2" fmla="*/ 1065125 h 2453208"/>
                  <a:gd name="connsiteX3" fmla="*/ 1436916 w 1938704"/>
                  <a:gd name="connsiteY3" fmla="*/ 1693147 h 2453208"/>
                  <a:gd name="connsiteX4" fmla="*/ 864159 w 1938704"/>
                  <a:gd name="connsiteY4" fmla="*/ 2105130 h 2453208"/>
                  <a:gd name="connsiteX5" fmla="*/ 0 w 1938704"/>
                  <a:gd name="connsiteY5" fmla="*/ 2346290 h 2453208"/>
                  <a:gd name="connsiteX6" fmla="*/ 135654 w 1938704"/>
                  <a:gd name="connsiteY6" fmla="*/ 2044840 h 2453208"/>
                  <a:gd name="connsiteX7" fmla="*/ 567733 w 1938704"/>
                  <a:gd name="connsiteY7" fmla="*/ 1924260 h 2453208"/>
                  <a:gd name="connsiteX8" fmla="*/ 291403 w 1938704"/>
                  <a:gd name="connsiteY8" fmla="*/ 0 h 2453208"/>
                  <a:gd name="connsiteX0" fmla="*/ 291403 w 1938704"/>
                  <a:gd name="connsiteY0" fmla="*/ 0 h 2453208"/>
                  <a:gd name="connsiteX1" fmla="*/ 1723293 w 1938704"/>
                  <a:gd name="connsiteY1" fmla="*/ 0 h 2453208"/>
                  <a:gd name="connsiteX2" fmla="*/ 1919238 w 1938704"/>
                  <a:gd name="connsiteY2" fmla="*/ 1065125 h 2453208"/>
                  <a:gd name="connsiteX3" fmla="*/ 1436916 w 1938704"/>
                  <a:gd name="connsiteY3" fmla="*/ 1693147 h 2453208"/>
                  <a:gd name="connsiteX4" fmla="*/ 864159 w 1938704"/>
                  <a:gd name="connsiteY4" fmla="*/ 2105130 h 2453208"/>
                  <a:gd name="connsiteX5" fmla="*/ 0 w 1938704"/>
                  <a:gd name="connsiteY5" fmla="*/ 2346290 h 2453208"/>
                  <a:gd name="connsiteX6" fmla="*/ 135654 w 1938704"/>
                  <a:gd name="connsiteY6" fmla="*/ 2044840 h 2453208"/>
                  <a:gd name="connsiteX7" fmla="*/ 567733 w 1938704"/>
                  <a:gd name="connsiteY7" fmla="*/ 1924260 h 2453208"/>
                  <a:gd name="connsiteX8" fmla="*/ 291403 w 1938704"/>
                  <a:gd name="connsiteY8" fmla="*/ 0 h 2453208"/>
                  <a:gd name="connsiteX0" fmla="*/ 291403 w 1938704"/>
                  <a:gd name="connsiteY0" fmla="*/ 0 h 2453208"/>
                  <a:gd name="connsiteX1" fmla="*/ 1723293 w 1938704"/>
                  <a:gd name="connsiteY1" fmla="*/ 0 h 2453208"/>
                  <a:gd name="connsiteX2" fmla="*/ 1919238 w 1938704"/>
                  <a:gd name="connsiteY2" fmla="*/ 1065125 h 2453208"/>
                  <a:gd name="connsiteX3" fmla="*/ 1436916 w 1938704"/>
                  <a:gd name="connsiteY3" fmla="*/ 1693147 h 2453208"/>
                  <a:gd name="connsiteX4" fmla="*/ 864159 w 1938704"/>
                  <a:gd name="connsiteY4" fmla="*/ 2105130 h 2453208"/>
                  <a:gd name="connsiteX5" fmla="*/ 0 w 1938704"/>
                  <a:gd name="connsiteY5" fmla="*/ 2346290 h 2453208"/>
                  <a:gd name="connsiteX6" fmla="*/ 135654 w 1938704"/>
                  <a:gd name="connsiteY6" fmla="*/ 2044840 h 2453208"/>
                  <a:gd name="connsiteX7" fmla="*/ 567733 w 1938704"/>
                  <a:gd name="connsiteY7" fmla="*/ 1924260 h 2453208"/>
                  <a:gd name="connsiteX8" fmla="*/ 291403 w 1938704"/>
                  <a:gd name="connsiteY8" fmla="*/ 0 h 2453208"/>
                  <a:gd name="connsiteX0" fmla="*/ 291403 w 1932387"/>
                  <a:gd name="connsiteY0" fmla="*/ 0 h 2453208"/>
                  <a:gd name="connsiteX1" fmla="*/ 1723293 w 1932387"/>
                  <a:gd name="connsiteY1" fmla="*/ 0 h 2453208"/>
                  <a:gd name="connsiteX2" fmla="*/ 1919238 w 1932387"/>
                  <a:gd name="connsiteY2" fmla="*/ 1065125 h 2453208"/>
                  <a:gd name="connsiteX3" fmla="*/ 1436916 w 1932387"/>
                  <a:gd name="connsiteY3" fmla="*/ 1693147 h 2453208"/>
                  <a:gd name="connsiteX4" fmla="*/ 864159 w 1932387"/>
                  <a:gd name="connsiteY4" fmla="*/ 2105130 h 2453208"/>
                  <a:gd name="connsiteX5" fmla="*/ 0 w 1932387"/>
                  <a:gd name="connsiteY5" fmla="*/ 2346290 h 2453208"/>
                  <a:gd name="connsiteX6" fmla="*/ 135654 w 1932387"/>
                  <a:gd name="connsiteY6" fmla="*/ 2044840 h 2453208"/>
                  <a:gd name="connsiteX7" fmla="*/ 567733 w 1932387"/>
                  <a:gd name="connsiteY7" fmla="*/ 1924260 h 2453208"/>
                  <a:gd name="connsiteX8" fmla="*/ 291403 w 1932387"/>
                  <a:gd name="connsiteY8" fmla="*/ 0 h 2453208"/>
                  <a:gd name="connsiteX0" fmla="*/ 291403 w 1932262"/>
                  <a:gd name="connsiteY0" fmla="*/ 0 h 2453208"/>
                  <a:gd name="connsiteX1" fmla="*/ 1723293 w 1932262"/>
                  <a:gd name="connsiteY1" fmla="*/ 0 h 2453208"/>
                  <a:gd name="connsiteX2" fmla="*/ 1919238 w 1932262"/>
                  <a:gd name="connsiteY2" fmla="*/ 1065125 h 2453208"/>
                  <a:gd name="connsiteX3" fmla="*/ 1436916 w 1932262"/>
                  <a:gd name="connsiteY3" fmla="*/ 1693147 h 2453208"/>
                  <a:gd name="connsiteX4" fmla="*/ 864159 w 1932262"/>
                  <a:gd name="connsiteY4" fmla="*/ 2105130 h 2453208"/>
                  <a:gd name="connsiteX5" fmla="*/ 0 w 1932262"/>
                  <a:gd name="connsiteY5" fmla="*/ 2346290 h 2453208"/>
                  <a:gd name="connsiteX6" fmla="*/ 135654 w 1932262"/>
                  <a:gd name="connsiteY6" fmla="*/ 2044840 h 2453208"/>
                  <a:gd name="connsiteX7" fmla="*/ 567733 w 1932262"/>
                  <a:gd name="connsiteY7" fmla="*/ 1924260 h 2453208"/>
                  <a:gd name="connsiteX8" fmla="*/ 291403 w 1932262"/>
                  <a:gd name="connsiteY8" fmla="*/ 0 h 2453208"/>
                  <a:gd name="connsiteX0" fmla="*/ 291403 w 2175469"/>
                  <a:gd name="connsiteY0" fmla="*/ 0 h 2453208"/>
                  <a:gd name="connsiteX1" fmla="*/ 2175469 w 2175469"/>
                  <a:gd name="connsiteY1" fmla="*/ 356716 h 2453208"/>
                  <a:gd name="connsiteX2" fmla="*/ 1919238 w 2175469"/>
                  <a:gd name="connsiteY2" fmla="*/ 1065125 h 2453208"/>
                  <a:gd name="connsiteX3" fmla="*/ 1436916 w 2175469"/>
                  <a:gd name="connsiteY3" fmla="*/ 1693147 h 2453208"/>
                  <a:gd name="connsiteX4" fmla="*/ 864159 w 2175469"/>
                  <a:gd name="connsiteY4" fmla="*/ 2105130 h 2453208"/>
                  <a:gd name="connsiteX5" fmla="*/ 0 w 2175469"/>
                  <a:gd name="connsiteY5" fmla="*/ 2346290 h 2453208"/>
                  <a:gd name="connsiteX6" fmla="*/ 135654 w 2175469"/>
                  <a:gd name="connsiteY6" fmla="*/ 2044840 h 2453208"/>
                  <a:gd name="connsiteX7" fmla="*/ 567733 w 2175469"/>
                  <a:gd name="connsiteY7" fmla="*/ 1924260 h 2453208"/>
                  <a:gd name="connsiteX8" fmla="*/ 291403 w 2175469"/>
                  <a:gd name="connsiteY8" fmla="*/ 0 h 2453208"/>
                  <a:gd name="connsiteX0" fmla="*/ 291403 w 2215117"/>
                  <a:gd name="connsiteY0" fmla="*/ 0 h 2453208"/>
                  <a:gd name="connsiteX1" fmla="*/ 2175469 w 2215117"/>
                  <a:gd name="connsiteY1" fmla="*/ 356716 h 2453208"/>
                  <a:gd name="connsiteX2" fmla="*/ 1919238 w 2215117"/>
                  <a:gd name="connsiteY2" fmla="*/ 1065125 h 2453208"/>
                  <a:gd name="connsiteX3" fmla="*/ 1436916 w 2215117"/>
                  <a:gd name="connsiteY3" fmla="*/ 1693147 h 2453208"/>
                  <a:gd name="connsiteX4" fmla="*/ 864159 w 2215117"/>
                  <a:gd name="connsiteY4" fmla="*/ 2105130 h 2453208"/>
                  <a:gd name="connsiteX5" fmla="*/ 0 w 2215117"/>
                  <a:gd name="connsiteY5" fmla="*/ 2346290 h 2453208"/>
                  <a:gd name="connsiteX6" fmla="*/ 135654 w 2215117"/>
                  <a:gd name="connsiteY6" fmla="*/ 2044840 h 2453208"/>
                  <a:gd name="connsiteX7" fmla="*/ 567733 w 2215117"/>
                  <a:gd name="connsiteY7" fmla="*/ 1924260 h 2453208"/>
                  <a:gd name="connsiteX8" fmla="*/ 291403 w 2215117"/>
                  <a:gd name="connsiteY8" fmla="*/ 0 h 2453208"/>
                  <a:gd name="connsiteX0" fmla="*/ 291403 w 2217798"/>
                  <a:gd name="connsiteY0" fmla="*/ 0 h 2453208"/>
                  <a:gd name="connsiteX1" fmla="*/ 2175469 w 2217798"/>
                  <a:gd name="connsiteY1" fmla="*/ 356716 h 2453208"/>
                  <a:gd name="connsiteX2" fmla="*/ 1919238 w 2217798"/>
                  <a:gd name="connsiteY2" fmla="*/ 1065125 h 2453208"/>
                  <a:gd name="connsiteX3" fmla="*/ 1436916 w 2217798"/>
                  <a:gd name="connsiteY3" fmla="*/ 1693147 h 2453208"/>
                  <a:gd name="connsiteX4" fmla="*/ 864159 w 2217798"/>
                  <a:gd name="connsiteY4" fmla="*/ 2105130 h 2453208"/>
                  <a:gd name="connsiteX5" fmla="*/ 0 w 2217798"/>
                  <a:gd name="connsiteY5" fmla="*/ 2346290 h 2453208"/>
                  <a:gd name="connsiteX6" fmla="*/ 135654 w 2217798"/>
                  <a:gd name="connsiteY6" fmla="*/ 2044840 h 2453208"/>
                  <a:gd name="connsiteX7" fmla="*/ 567733 w 2217798"/>
                  <a:gd name="connsiteY7" fmla="*/ 1924260 h 2453208"/>
                  <a:gd name="connsiteX8" fmla="*/ 291403 w 2217798"/>
                  <a:gd name="connsiteY8" fmla="*/ 0 h 2453208"/>
                  <a:gd name="connsiteX0" fmla="*/ 291403 w 2217798"/>
                  <a:gd name="connsiteY0" fmla="*/ 0 h 2453208"/>
                  <a:gd name="connsiteX1" fmla="*/ 1165611 w 2217798"/>
                  <a:gd name="connsiteY1" fmla="*/ 165798 h 2453208"/>
                  <a:gd name="connsiteX2" fmla="*/ 2175469 w 2217798"/>
                  <a:gd name="connsiteY2" fmla="*/ 356716 h 2453208"/>
                  <a:gd name="connsiteX3" fmla="*/ 1919238 w 2217798"/>
                  <a:gd name="connsiteY3" fmla="*/ 1065125 h 2453208"/>
                  <a:gd name="connsiteX4" fmla="*/ 1436916 w 2217798"/>
                  <a:gd name="connsiteY4" fmla="*/ 1693147 h 2453208"/>
                  <a:gd name="connsiteX5" fmla="*/ 864159 w 2217798"/>
                  <a:gd name="connsiteY5" fmla="*/ 2105130 h 2453208"/>
                  <a:gd name="connsiteX6" fmla="*/ 0 w 2217798"/>
                  <a:gd name="connsiteY6" fmla="*/ 2346290 h 2453208"/>
                  <a:gd name="connsiteX7" fmla="*/ 135654 w 2217798"/>
                  <a:gd name="connsiteY7" fmla="*/ 2044840 h 2453208"/>
                  <a:gd name="connsiteX8" fmla="*/ 567733 w 2217798"/>
                  <a:gd name="connsiteY8" fmla="*/ 1924260 h 2453208"/>
                  <a:gd name="connsiteX9" fmla="*/ 291403 w 2217798"/>
                  <a:gd name="connsiteY9" fmla="*/ 0 h 2453208"/>
                  <a:gd name="connsiteX0" fmla="*/ 291403 w 2217798"/>
                  <a:gd name="connsiteY0" fmla="*/ 1170633 h 3623841"/>
                  <a:gd name="connsiteX1" fmla="*/ 532565 w 2217798"/>
                  <a:gd name="connsiteY1" fmla="*/ 0 h 3623841"/>
                  <a:gd name="connsiteX2" fmla="*/ 2175469 w 2217798"/>
                  <a:gd name="connsiteY2" fmla="*/ 1527349 h 3623841"/>
                  <a:gd name="connsiteX3" fmla="*/ 1919238 w 2217798"/>
                  <a:gd name="connsiteY3" fmla="*/ 2235758 h 3623841"/>
                  <a:gd name="connsiteX4" fmla="*/ 1436916 w 2217798"/>
                  <a:gd name="connsiteY4" fmla="*/ 2863780 h 3623841"/>
                  <a:gd name="connsiteX5" fmla="*/ 864159 w 2217798"/>
                  <a:gd name="connsiteY5" fmla="*/ 3275763 h 3623841"/>
                  <a:gd name="connsiteX6" fmla="*/ 0 w 2217798"/>
                  <a:gd name="connsiteY6" fmla="*/ 3516923 h 3623841"/>
                  <a:gd name="connsiteX7" fmla="*/ 135654 w 2217798"/>
                  <a:gd name="connsiteY7" fmla="*/ 3215473 h 3623841"/>
                  <a:gd name="connsiteX8" fmla="*/ 567733 w 2217798"/>
                  <a:gd name="connsiteY8" fmla="*/ 3094893 h 3623841"/>
                  <a:gd name="connsiteX9" fmla="*/ 291403 w 2217798"/>
                  <a:gd name="connsiteY9" fmla="*/ 1170633 h 3623841"/>
                  <a:gd name="connsiteX0" fmla="*/ 291403 w 2217798"/>
                  <a:gd name="connsiteY0" fmla="*/ 1170633 h 3623841"/>
                  <a:gd name="connsiteX1" fmla="*/ 532565 w 2217798"/>
                  <a:gd name="connsiteY1" fmla="*/ 0 h 3623841"/>
                  <a:gd name="connsiteX2" fmla="*/ 2175469 w 2217798"/>
                  <a:gd name="connsiteY2" fmla="*/ 1527349 h 3623841"/>
                  <a:gd name="connsiteX3" fmla="*/ 1919238 w 2217798"/>
                  <a:gd name="connsiteY3" fmla="*/ 2235758 h 3623841"/>
                  <a:gd name="connsiteX4" fmla="*/ 1436916 w 2217798"/>
                  <a:gd name="connsiteY4" fmla="*/ 2863780 h 3623841"/>
                  <a:gd name="connsiteX5" fmla="*/ 864159 w 2217798"/>
                  <a:gd name="connsiteY5" fmla="*/ 3275763 h 3623841"/>
                  <a:gd name="connsiteX6" fmla="*/ 0 w 2217798"/>
                  <a:gd name="connsiteY6" fmla="*/ 3516923 h 3623841"/>
                  <a:gd name="connsiteX7" fmla="*/ 135654 w 2217798"/>
                  <a:gd name="connsiteY7" fmla="*/ 3215473 h 3623841"/>
                  <a:gd name="connsiteX8" fmla="*/ 567733 w 2217798"/>
                  <a:gd name="connsiteY8" fmla="*/ 3094893 h 3623841"/>
                  <a:gd name="connsiteX9" fmla="*/ 291403 w 2217798"/>
                  <a:gd name="connsiteY9" fmla="*/ 1170633 h 3623841"/>
                  <a:gd name="connsiteX0" fmla="*/ 291403 w 2213292"/>
                  <a:gd name="connsiteY0" fmla="*/ 1170633 h 3623841"/>
                  <a:gd name="connsiteX1" fmla="*/ 532565 w 2213292"/>
                  <a:gd name="connsiteY1" fmla="*/ 0 h 3623841"/>
                  <a:gd name="connsiteX2" fmla="*/ 2170445 w 2213292"/>
                  <a:gd name="connsiteY2" fmla="*/ 1507252 h 3623841"/>
                  <a:gd name="connsiteX3" fmla="*/ 1919238 w 2213292"/>
                  <a:gd name="connsiteY3" fmla="*/ 2235758 h 3623841"/>
                  <a:gd name="connsiteX4" fmla="*/ 1436916 w 2213292"/>
                  <a:gd name="connsiteY4" fmla="*/ 2863780 h 3623841"/>
                  <a:gd name="connsiteX5" fmla="*/ 864159 w 2213292"/>
                  <a:gd name="connsiteY5" fmla="*/ 3275763 h 3623841"/>
                  <a:gd name="connsiteX6" fmla="*/ 0 w 2213292"/>
                  <a:gd name="connsiteY6" fmla="*/ 3516923 h 3623841"/>
                  <a:gd name="connsiteX7" fmla="*/ 135654 w 2213292"/>
                  <a:gd name="connsiteY7" fmla="*/ 3215473 h 3623841"/>
                  <a:gd name="connsiteX8" fmla="*/ 567733 w 2213292"/>
                  <a:gd name="connsiteY8" fmla="*/ 3094893 h 3623841"/>
                  <a:gd name="connsiteX9" fmla="*/ 291403 w 2213292"/>
                  <a:gd name="connsiteY9" fmla="*/ 1170633 h 3623841"/>
                  <a:gd name="connsiteX0" fmla="*/ 291403 w 2114143"/>
                  <a:gd name="connsiteY0" fmla="*/ 1170633 h 3623841"/>
                  <a:gd name="connsiteX1" fmla="*/ 532565 w 2114143"/>
                  <a:gd name="connsiteY1" fmla="*/ 0 h 3623841"/>
                  <a:gd name="connsiteX2" fmla="*/ 2054889 w 2114143"/>
                  <a:gd name="connsiteY2" fmla="*/ 1381647 h 3623841"/>
                  <a:gd name="connsiteX3" fmla="*/ 1919238 w 2114143"/>
                  <a:gd name="connsiteY3" fmla="*/ 2235758 h 3623841"/>
                  <a:gd name="connsiteX4" fmla="*/ 1436916 w 2114143"/>
                  <a:gd name="connsiteY4" fmla="*/ 2863780 h 3623841"/>
                  <a:gd name="connsiteX5" fmla="*/ 864159 w 2114143"/>
                  <a:gd name="connsiteY5" fmla="*/ 3275763 h 3623841"/>
                  <a:gd name="connsiteX6" fmla="*/ 0 w 2114143"/>
                  <a:gd name="connsiteY6" fmla="*/ 3516923 h 3623841"/>
                  <a:gd name="connsiteX7" fmla="*/ 135654 w 2114143"/>
                  <a:gd name="connsiteY7" fmla="*/ 3215473 h 3623841"/>
                  <a:gd name="connsiteX8" fmla="*/ 567733 w 2114143"/>
                  <a:gd name="connsiteY8" fmla="*/ 3094893 h 3623841"/>
                  <a:gd name="connsiteX9" fmla="*/ 291403 w 2114143"/>
                  <a:gd name="connsiteY9" fmla="*/ 1170633 h 3623841"/>
                  <a:gd name="connsiteX0" fmla="*/ 291403 w 2209251"/>
                  <a:gd name="connsiteY0" fmla="*/ 1170633 h 3623841"/>
                  <a:gd name="connsiteX1" fmla="*/ 532565 w 2209251"/>
                  <a:gd name="connsiteY1" fmla="*/ 0 h 3623841"/>
                  <a:gd name="connsiteX2" fmla="*/ 2054889 w 2209251"/>
                  <a:gd name="connsiteY2" fmla="*/ 1381647 h 3623841"/>
                  <a:gd name="connsiteX3" fmla="*/ 1919238 w 2209251"/>
                  <a:gd name="connsiteY3" fmla="*/ 2235758 h 3623841"/>
                  <a:gd name="connsiteX4" fmla="*/ 1436916 w 2209251"/>
                  <a:gd name="connsiteY4" fmla="*/ 2863780 h 3623841"/>
                  <a:gd name="connsiteX5" fmla="*/ 864159 w 2209251"/>
                  <a:gd name="connsiteY5" fmla="*/ 3275763 h 3623841"/>
                  <a:gd name="connsiteX6" fmla="*/ 0 w 2209251"/>
                  <a:gd name="connsiteY6" fmla="*/ 3516923 h 3623841"/>
                  <a:gd name="connsiteX7" fmla="*/ 135654 w 2209251"/>
                  <a:gd name="connsiteY7" fmla="*/ 3215473 h 3623841"/>
                  <a:gd name="connsiteX8" fmla="*/ 567733 w 2209251"/>
                  <a:gd name="connsiteY8" fmla="*/ 3094893 h 3623841"/>
                  <a:gd name="connsiteX9" fmla="*/ 291403 w 2209251"/>
                  <a:gd name="connsiteY9" fmla="*/ 1170633 h 3623841"/>
                  <a:gd name="connsiteX0" fmla="*/ 291403 w 2215920"/>
                  <a:gd name="connsiteY0" fmla="*/ 1170633 h 3623841"/>
                  <a:gd name="connsiteX1" fmla="*/ 532565 w 2215920"/>
                  <a:gd name="connsiteY1" fmla="*/ 0 h 3623841"/>
                  <a:gd name="connsiteX2" fmla="*/ 2054889 w 2215920"/>
                  <a:gd name="connsiteY2" fmla="*/ 1381647 h 3623841"/>
                  <a:gd name="connsiteX3" fmla="*/ 1919238 w 2215920"/>
                  <a:gd name="connsiteY3" fmla="*/ 2235758 h 3623841"/>
                  <a:gd name="connsiteX4" fmla="*/ 1436916 w 2215920"/>
                  <a:gd name="connsiteY4" fmla="*/ 2863780 h 3623841"/>
                  <a:gd name="connsiteX5" fmla="*/ 864159 w 2215920"/>
                  <a:gd name="connsiteY5" fmla="*/ 3275763 h 3623841"/>
                  <a:gd name="connsiteX6" fmla="*/ 0 w 2215920"/>
                  <a:gd name="connsiteY6" fmla="*/ 3516923 h 3623841"/>
                  <a:gd name="connsiteX7" fmla="*/ 135654 w 2215920"/>
                  <a:gd name="connsiteY7" fmla="*/ 3215473 h 3623841"/>
                  <a:gd name="connsiteX8" fmla="*/ 567733 w 2215920"/>
                  <a:gd name="connsiteY8" fmla="*/ 3094893 h 3623841"/>
                  <a:gd name="connsiteX9" fmla="*/ 291403 w 2215920"/>
                  <a:gd name="connsiteY9" fmla="*/ 1170633 h 3623841"/>
                  <a:gd name="connsiteX0" fmla="*/ 291403 w 2219964"/>
                  <a:gd name="connsiteY0" fmla="*/ 1170633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91403 w 2219964"/>
                  <a:gd name="connsiteY9" fmla="*/ 1170633 h 3623841"/>
                  <a:gd name="connsiteX0" fmla="*/ 291403 w 2219964"/>
                  <a:gd name="connsiteY0" fmla="*/ 1170633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91403 w 2219964"/>
                  <a:gd name="connsiteY9" fmla="*/ 1170633 h 3623841"/>
                  <a:gd name="connsiteX0" fmla="*/ 291403 w 2219964"/>
                  <a:gd name="connsiteY0" fmla="*/ 1170633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91403 w 2219964"/>
                  <a:gd name="connsiteY9" fmla="*/ 1170633 h 3623841"/>
                  <a:gd name="connsiteX0" fmla="*/ 291403 w 2219964"/>
                  <a:gd name="connsiteY0" fmla="*/ 1170633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91403 w 2219964"/>
                  <a:gd name="connsiteY9" fmla="*/ 1170633 h 3623841"/>
                  <a:gd name="connsiteX0" fmla="*/ 291403 w 2219964"/>
                  <a:gd name="connsiteY0" fmla="*/ 1170633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91403 w 2219964"/>
                  <a:gd name="connsiteY9" fmla="*/ 1170633 h 3623841"/>
                  <a:gd name="connsiteX0" fmla="*/ 211016 w 2219964"/>
                  <a:gd name="connsiteY0" fmla="*/ 120580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11016 w 2219964"/>
                  <a:gd name="connsiteY9" fmla="*/ 120580 h 3623841"/>
                  <a:gd name="connsiteX0" fmla="*/ 211016 w 2219964"/>
                  <a:gd name="connsiteY0" fmla="*/ 120580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11016 w 2219964"/>
                  <a:gd name="connsiteY9" fmla="*/ 120580 h 3623841"/>
                  <a:gd name="connsiteX0" fmla="*/ 211016 w 2219964"/>
                  <a:gd name="connsiteY0" fmla="*/ 120580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11016 w 2219964"/>
                  <a:gd name="connsiteY9" fmla="*/ 120580 h 3623841"/>
                  <a:gd name="connsiteX0" fmla="*/ 211016 w 2219964"/>
                  <a:gd name="connsiteY0" fmla="*/ 120580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11016 w 2219964"/>
                  <a:gd name="connsiteY9" fmla="*/ 120580 h 3623841"/>
                  <a:gd name="connsiteX0" fmla="*/ 211016 w 2219964"/>
                  <a:gd name="connsiteY0" fmla="*/ 138966 h 3642227"/>
                  <a:gd name="connsiteX1" fmla="*/ 532565 w 2219964"/>
                  <a:gd name="connsiteY1" fmla="*/ 18386 h 3642227"/>
                  <a:gd name="connsiteX2" fmla="*/ 2054889 w 2219964"/>
                  <a:gd name="connsiteY2" fmla="*/ 1400033 h 3642227"/>
                  <a:gd name="connsiteX3" fmla="*/ 1919238 w 2219964"/>
                  <a:gd name="connsiteY3" fmla="*/ 2254144 h 3642227"/>
                  <a:gd name="connsiteX4" fmla="*/ 1436916 w 2219964"/>
                  <a:gd name="connsiteY4" fmla="*/ 2882166 h 3642227"/>
                  <a:gd name="connsiteX5" fmla="*/ 864159 w 2219964"/>
                  <a:gd name="connsiteY5" fmla="*/ 3294149 h 3642227"/>
                  <a:gd name="connsiteX6" fmla="*/ 0 w 2219964"/>
                  <a:gd name="connsiteY6" fmla="*/ 3535309 h 3642227"/>
                  <a:gd name="connsiteX7" fmla="*/ 135654 w 2219964"/>
                  <a:gd name="connsiteY7" fmla="*/ 3233859 h 3642227"/>
                  <a:gd name="connsiteX8" fmla="*/ 567733 w 2219964"/>
                  <a:gd name="connsiteY8" fmla="*/ 3113279 h 3642227"/>
                  <a:gd name="connsiteX9" fmla="*/ 211016 w 2219964"/>
                  <a:gd name="connsiteY9" fmla="*/ 138966 h 3642227"/>
                  <a:gd name="connsiteX0" fmla="*/ 211016 w 2219964"/>
                  <a:gd name="connsiteY0" fmla="*/ 134584 h 3637845"/>
                  <a:gd name="connsiteX1" fmla="*/ 532565 w 2219964"/>
                  <a:gd name="connsiteY1" fmla="*/ 14004 h 3637845"/>
                  <a:gd name="connsiteX2" fmla="*/ 2054889 w 2219964"/>
                  <a:gd name="connsiteY2" fmla="*/ 1395651 h 3637845"/>
                  <a:gd name="connsiteX3" fmla="*/ 1919238 w 2219964"/>
                  <a:gd name="connsiteY3" fmla="*/ 2249762 h 3637845"/>
                  <a:gd name="connsiteX4" fmla="*/ 1436916 w 2219964"/>
                  <a:gd name="connsiteY4" fmla="*/ 2877784 h 3637845"/>
                  <a:gd name="connsiteX5" fmla="*/ 864159 w 2219964"/>
                  <a:gd name="connsiteY5" fmla="*/ 3289767 h 3637845"/>
                  <a:gd name="connsiteX6" fmla="*/ 0 w 2219964"/>
                  <a:gd name="connsiteY6" fmla="*/ 3530927 h 3637845"/>
                  <a:gd name="connsiteX7" fmla="*/ 135654 w 2219964"/>
                  <a:gd name="connsiteY7" fmla="*/ 3229477 h 3637845"/>
                  <a:gd name="connsiteX8" fmla="*/ 567733 w 2219964"/>
                  <a:gd name="connsiteY8" fmla="*/ 3108897 h 3637845"/>
                  <a:gd name="connsiteX9" fmla="*/ 211016 w 2219964"/>
                  <a:gd name="connsiteY9" fmla="*/ 134584 h 3637845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211016 w 2219964"/>
                  <a:gd name="connsiteY9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386864 w 2219964"/>
                  <a:gd name="connsiteY9" fmla="*/ 1692616 h 3628333"/>
                  <a:gd name="connsiteX10" fmla="*/ 211016 w 2219964"/>
                  <a:gd name="connsiteY10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758464 w 2219964"/>
                  <a:gd name="connsiteY9" fmla="*/ 1531842 h 3628333"/>
                  <a:gd name="connsiteX10" fmla="*/ 211016 w 2219964"/>
                  <a:gd name="connsiteY10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421844 w 2219964"/>
                  <a:gd name="connsiteY9" fmla="*/ 1958897 h 3628333"/>
                  <a:gd name="connsiteX10" fmla="*/ 1758464 w 2219964"/>
                  <a:gd name="connsiteY10" fmla="*/ 1531842 h 3628333"/>
                  <a:gd name="connsiteX11" fmla="*/ 211016 w 2219964"/>
                  <a:gd name="connsiteY1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748416 w 2219964"/>
                  <a:gd name="connsiteY9" fmla="*/ 1958897 h 3628333"/>
                  <a:gd name="connsiteX10" fmla="*/ 1758464 w 2219964"/>
                  <a:gd name="connsiteY10" fmla="*/ 1531842 h 3628333"/>
                  <a:gd name="connsiteX11" fmla="*/ 211016 w 2219964"/>
                  <a:gd name="connsiteY1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748416 w 2219964"/>
                  <a:gd name="connsiteY9" fmla="*/ 1958897 h 3628333"/>
                  <a:gd name="connsiteX10" fmla="*/ 1758464 w 2219964"/>
                  <a:gd name="connsiteY10" fmla="*/ 1531842 h 3628333"/>
                  <a:gd name="connsiteX11" fmla="*/ 211016 w 2219964"/>
                  <a:gd name="connsiteY1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748416 w 2219964"/>
                  <a:gd name="connsiteY9" fmla="*/ 1958897 h 3628333"/>
                  <a:gd name="connsiteX10" fmla="*/ 1758464 w 2219964"/>
                  <a:gd name="connsiteY10" fmla="*/ 1531842 h 3628333"/>
                  <a:gd name="connsiteX11" fmla="*/ 211016 w 2219964"/>
                  <a:gd name="connsiteY1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748416 w 2219964"/>
                  <a:gd name="connsiteY9" fmla="*/ 1958897 h 3628333"/>
                  <a:gd name="connsiteX10" fmla="*/ 1758464 w 2219964"/>
                  <a:gd name="connsiteY10" fmla="*/ 1531842 h 3628333"/>
                  <a:gd name="connsiteX11" fmla="*/ 211016 w 2219964"/>
                  <a:gd name="connsiteY1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306288 w 2219964"/>
                  <a:gd name="connsiteY9" fmla="*/ 2380928 h 3628333"/>
                  <a:gd name="connsiteX10" fmla="*/ 1748416 w 2219964"/>
                  <a:gd name="connsiteY10" fmla="*/ 1958897 h 3628333"/>
                  <a:gd name="connsiteX11" fmla="*/ 1758464 w 2219964"/>
                  <a:gd name="connsiteY11" fmla="*/ 153184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748416 w 2219964"/>
                  <a:gd name="connsiteY10" fmla="*/ 1958897 h 3628333"/>
                  <a:gd name="connsiteX11" fmla="*/ 1758464 w 2219964"/>
                  <a:gd name="connsiteY11" fmla="*/ 153184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758464 w 2219964"/>
                  <a:gd name="connsiteY11" fmla="*/ 153184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758464 w 2219964"/>
                  <a:gd name="connsiteY11" fmla="*/ 153184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758464 w 2219964"/>
                  <a:gd name="connsiteY11" fmla="*/ 153184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808706 w 2219964"/>
                  <a:gd name="connsiteY11" fmla="*/ 159213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808706 w 2219964"/>
                  <a:gd name="connsiteY11" fmla="*/ 159213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808706 w 2219964"/>
                  <a:gd name="connsiteY11" fmla="*/ 159213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808706 w 2219964"/>
                  <a:gd name="connsiteY11" fmla="*/ 159213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808706 w 2219964"/>
                  <a:gd name="connsiteY11" fmla="*/ 159213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813919 w 2219964"/>
                  <a:gd name="connsiteY9" fmla="*/ 2325662 h 3628333"/>
                  <a:gd name="connsiteX10" fmla="*/ 1085224 w 2219964"/>
                  <a:gd name="connsiteY10" fmla="*/ 1501697 h 3628333"/>
                  <a:gd name="connsiteX11" fmla="*/ 1607739 w 2219964"/>
                  <a:gd name="connsiteY11" fmla="*/ 1873486 h 3628333"/>
                  <a:gd name="connsiteX12" fmla="*/ 1808706 w 2219964"/>
                  <a:gd name="connsiteY12" fmla="*/ 1592132 h 3628333"/>
                  <a:gd name="connsiteX13" fmla="*/ 211016 w 2219964"/>
                  <a:gd name="connsiteY13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1085224 w 2219964"/>
                  <a:gd name="connsiteY10" fmla="*/ 1501697 h 3628333"/>
                  <a:gd name="connsiteX11" fmla="*/ 1607739 w 2219964"/>
                  <a:gd name="connsiteY11" fmla="*/ 1873486 h 3628333"/>
                  <a:gd name="connsiteX12" fmla="*/ 1808706 w 2219964"/>
                  <a:gd name="connsiteY12" fmla="*/ 1592132 h 3628333"/>
                  <a:gd name="connsiteX13" fmla="*/ 211016 w 2219964"/>
                  <a:gd name="connsiteY13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813919 w 2219964"/>
                  <a:gd name="connsiteY10" fmla="*/ 1883535 h 3628333"/>
                  <a:gd name="connsiteX11" fmla="*/ 1085224 w 2219964"/>
                  <a:gd name="connsiteY11" fmla="*/ 1501697 h 3628333"/>
                  <a:gd name="connsiteX12" fmla="*/ 1607739 w 2219964"/>
                  <a:gd name="connsiteY12" fmla="*/ 1873486 h 3628333"/>
                  <a:gd name="connsiteX13" fmla="*/ 1808706 w 2219964"/>
                  <a:gd name="connsiteY13" fmla="*/ 1592132 h 3628333"/>
                  <a:gd name="connsiteX14" fmla="*/ 211016 w 2219964"/>
                  <a:gd name="connsiteY14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944547 w 2219964"/>
                  <a:gd name="connsiteY10" fmla="*/ 1767979 h 3628333"/>
                  <a:gd name="connsiteX11" fmla="*/ 1085224 w 2219964"/>
                  <a:gd name="connsiteY11" fmla="*/ 1501697 h 3628333"/>
                  <a:gd name="connsiteX12" fmla="*/ 1607739 w 2219964"/>
                  <a:gd name="connsiteY12" fmla="*/ 1873486 h 3628333"/>
                  <a:gd name="connsiteX13" fmla="*/ 1808706 w 2219964"/>
                  <a:gd name="connsiteY13" fmla="*/ 1592132 h 3628333"/>
                  <a:gd name="connsiteX14" fmla="*/ 211016 w 2219964"/>
                  <a:gd name="connsiteY14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73725 w 2219964"/>
                  <a:gd name="connsiteY10" fmla="*/ 2009139 h 3628333"/>
                  <a:gd name="connsiteX11" fmla="*/ 944547 w 2219964"/>
                  <a:gd name="connsiteY11" fmla="*/ 1767979 h 3628333"/>
                  <a:gd name="connsiteX12" fmla="*/ 1085224 w 2219964"/>
                  <a:gd name="connsiteY12" fmla="*/ 1501697 h 3628333"/>
                  <a:gd name="connsiteX13" fmla="*/ 1607739 w 2219964"/>
                  <a:gd name="connsiteY13" fmla="*/ 1873486 h 3628333"/>
                  <a:gd name="connsiteX14" fmla="*/ 1808706 w 2219964"/>
                  <a:gd name="connsiteY14" fmla="*/ 1592132 h 3628333"/>
                  <a:gd name="connsiteX15" fmla="*/ 211016 w 2219964"/>
                  <a:gd name="connsiteY15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944547 w 2219964"/>
                  <a:gd name="connsiteY11" fmla="*/ 1767979 h 3628333"/>
                  <a:gd name="connsiteX12" fmla="*/ 1085224 w 2219964"/>
                  <a:gd name="connsiteY12" fmla="*/ 1501697 h 3628333"/>
                  <a:gd name="connsiteX13" fmla="*/ 1607739 w 2219964"/>
                  <a:gd name="connsiteY13" fmla="*/ 1873486 h 3628333"/>
                  <a:gd name="connsiteX14" fmla="*/ 1808706 w 2219964"/>
                  <a:gd name="connsiteY14" fmla="*/ 1592132 h 3628333"/>
                  <a:gd name="connsiteX15" fmla="*/ 211016 w 2219964"/>
                  <a:gd name="connsiteY15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944547 w 2219964"/>
                  <a:gd name="connsiteY11" fmla="*/ 1767979 h 3628333"/>
                  <a:gd name="connsiteX12" fmla="*/ 1085224 w 2219964"/>
                  <a:gd name="connsiteY12" fmla="*/ 1501697 h 3628333"/>
                  <a:gd name="connsiteX13" fmla="*/ 1607739 w 2219964"/>
                  <a:gd name="connsiteY13" fmla="*/ 1873486 h 3628333"/>
                  <a:gd name="connsiteX14" fmla="*/ 1808706 w 2219964"/>
                  <a:gd name="connsiteY14" fmla="*/ 1592132 h 3628333"/>
                  <a:gd name="connsiteX15" fmla="*/ 211016 w 2219964"/>
                  <a:gd name="connsiteY15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090248 w 2219964"/>
                  <a:gd name="connsiteY11" fmla="*/ 2024212 h 3628333"/>
                  <a:gd name="connsiteX12" fmla="*/ 944547 w 2219964"/>
                  <a:gd name="connsiteY12" fmla="*/ 1767979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44547 w 2219964"/>
                  <a:gd name="connsiteY12" fmla="*/ 1767979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84741 w 2219964"/>
                  <a:gd name="connsiteY12" fmla="*/ 1783052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84741 w 2219964"/>
                  <a:gd name="connsiteY12" fmla="*/ 1783052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84741 w 2219964"/>
                  <a:gd name="connsiteY12" fmla="*/ 1783052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29475 w 2219964"/>
                  <a:gd name="connsiteY12" fmla="*/ 1762955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29475 w 2219964"/>
                  <a:gd name="connsiteY12" fmla="*/ 1762955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29475 w 2219964"/>
                  <a:gd name="connsiteY12" fmla="*/ 1762955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29475 w 2219964"/>
                  <a:gd name="connsiteY12" fmla="*/ 1762955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29475 w 2219964"/>
                  <a:gd name="connsiteY12" fmla="*/ 1762955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245998 w 2219964"/>
                  <a:gd name="connsiteY11" fmla="*/ 2190010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90493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90493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90493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713435 w 2219964"/>
                  <a:gd name="connsiteY9" fmla="*/ 2692427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70151 w 2219964"/>
                  <a:gd name="connsiteY9" fmla="*/ 2727597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70151 w 2219964"/>
                  <a:gd name="connsiteY9" fmla="*/ 2727597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70151 w 2219964"/>
                  <a:gd name="connsiteY9" fmla="*/ 2727597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0199 w 2219964"/>
                  <a:gd name="connsiteY9" fmla="*/ 2702476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0199 w 2219964"/>
                  <a:gd name="connsiteY9" fmla="*/ 2702476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0199 w 2219964"/>
                  <a:gd name="connsiteY9" fmla="*/ 2702476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874209 w 2219964"/>
                  <a:gd name="connsiteY9" fmla="*/ 2988853 h 3628333"/>
                  <a:gd name="connsiteX10" fmla="*/ 1080199 w 2219964"/>
                  <a:gd name="connsiteY10" fmla="*/ 2702476 h 3628333"/>
                  <a:gd name="connsiteX11" fmla="*/ 567735 w 2219964"/>
                  <a:gd name="connsiteY11" fmla="*/ 2290493 h 3628333"/>
                  <a:gd name="connsiteX12" fmla="*/ 763677 w 2219964"/>
                  <a:gd name="connsiteY12" fmla="*/ 2049333 h 3628333"/>
                  <a:gd name="connsiteX13" fmla="*/ 1381651 w 2219964"/>
                  <a:gd name="connsiteY13" fmla="*/ 2521605 h 3628333"/>
                  <a:gd name="connsiteX14" fmla="*/ 1577593 w 2219964"/>
                  <a:gd name="connsiteY14" fmla="*/ 2280445 h 3628333"/>
                  <a:gd name="connsiteX15" fmla="*/ 929475 w 2219964"/>
                  <a:gd name="connsiteY15" fmla="*/ 1762955 h 3628333"/>
                  <a:gd name="connsiteX16" fmla="*/ 1085224 w 2219964"/>
                  <a:gd name="connsiteY16" fmla="*/ 1501697 h 3628333"/>
                  <a:gd name="connsiteX17" fmla="*/ 1607739 w 2219964"/>
                  <a:gd name="connsiteY17" fmla="*/ 1873486 h 3628333"/>
                  <a:gd name="connsiteX18" fmla="*/ 1808706 w 2219964"/>
                  <a:gd name="connsiteY18" fmla="*/ 1592132 h 3628333"/>
                  <a:gd name="connsiteX19" fmla="*/ 211016 w 2219964"/>
                  <a:gd name="connsiteY19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316525 w 2219964"/>
                  <a:gd name="connsiteY9" fmla="*/ 2506532 h 3628333"/>
                  <a:gd name="connsiteX10" fmla="*/ 1080199 w 2219964"/>
                  <a:gd name="connsiteY10" fmla="*/ 2702476 h 3628333"/>
                  <a:gd name="connsiteX11" fmla="*/ 567735 w 2219964"/>
                  <a:gd name="connsiteY11" fmla="*/ 2290493 h 3628333"/>
                  <a:gd name="connsiteX12" fmla="*/ 763677 w 2219964"/>
                  <a:gd name="connsiteY12" fmla="*/ 2049333 h 3628333"/>
                  <a:gd name="connsiteX13" fmla="*/ 1381651 w 2219964"/>
                  <a:gd name="connsiteY13" fmla="*/ 2521605 h 3628333"/>
                  <a:gd name="connsiteX14" fmla="*/ 1577593 w 2219964"/>
                  <a:gd name="connsiteY14" fmla="*/ 2280445 h 3628333"/>
                  <a:gd name="connsiteX15" fmla="*/ 929475 w 2219964"/>
                  <a:gd name="connsiteY15" fmla="*/ 1762955 h 3628333"/>
                  <a:gd name="connsiteX16" fmla="*/ 1085224 w 2219964"/>
                  <a:gd name="connsiteY16" fmla="*/ 1501697 h 3628333"/>
                  <a:gd name="connsiteX17" fmla="*/ 1607739 w 2219964"/>
                  <a:gd name="connsiteY17" fmla="*/ 1873486 h 3628333"/>
                  <a:gd name="connsiteX18" fmla="*/ 1808706 w 2219964"/>
                  <a:gd name="connsiteY18" fmla="*/ 1592132 h 3628333"/>
                  <a:gd name="connsiteX19" fmla="*/ 211016 w 2219964"/>
                  <a:gd name="connsiteY19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371791 w 2219964"/>
                  <a:gd name="connsiteY9" fmla="*/ 2687403 h 3628333"/>
                  <a:gd name="connsiteX10" fmla="*/ 316525 w 2219964"/>
                  <a:gd name="connsiteY10" fmla="*/ 2506532 h 3628333"/>
                  <a:gd name="connsiteX11" fmla="*/ 1080199 w 2219964"/>
                  <a:gd name="connsiteY11" fmla="*/ 2702476 h 3628333"/>
                  <a:gd name="connsiteX12" fmla="*/ 567735 w 2219964"/>
                  <a:gd name="connsiteY12" fmla="*/ 2290493 h 3628333"/>
                  <a:gd name="connsiteX13" fmla="*/ 763677 w 2219964"/>
                  <a:gd name="connsiteY13" fmla="*/ 2049333 h 3628333"/>
                  <a:gd name="connsiteX14" fmla="*/ 1381651 w 2219964"/>
                  <a:gd name="connsiteY14" fmla="*/ 2521605 h 3628333"/>
                  <a:gd name="connsiteX15" fmla="*/ 1577593 w 2219964"/>
                  <a:gd name="connsiteY15" fmla="*/ 2280445 h 3628333"/>
                  <a:gd name="connsiteX16" fmla="*/ 929475 w 2219964"/>
                  <a:gd name="connsiteY16" fmla="*/ 1762955 h 3628333"/>
                  <a:gd name="connsiteX17" fmla="*/ 1085224 w 2219964"/>
                  <a:gd name="connsiteY17" fmla="*/ 1501697 h 3628333"/>
                  <a:gd name="connsiteX18" fmla="*/ 1607739 w 2219964"/>
                  <a:gd name="connsiteY18" fmla="*/ 1873486 h 3628333"/>
                  <a:gd name="connsiteX19" fmla="*/ 1808706 w 2219964"/>
                  <a:gd name="connsiteY19" fmla="*/ 1592132 h 3628333"/>
                  <a:gd name="connsiteX20" fmla="*/ 211016 w 2219964"/>
                  <a:gd name="connsiteY20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16525 w 2219964"/>
                  <a:gd name="connsiteY10" fmla="*/ 2506532 h 3628333"/>
                  <a:gd name="connsiteX11" fmla="*/ 1080199 w 2219964"/>
                  <a:gd name="connsiteY11" fmla="*/ 2702476 h 3628333"/>
                  <a:gd name="connsiteX12" fmla="*/ 567735 w 2219964"/>
                  <a:gd name="connsiteY12" fmla="*/ 2290493 h 3628333"/>
                  <a:gd name="connsiteX13" fmla="*/ 763677 w 2219964"/>
                  <a:gd name="connsiteY13" fmla="*/ 2049333 h 3628333"/>
                  <a:gd name="connsiteX14" fmla="*/ 1381651 w 2219964"/>
                  <a:gd name="connsiteY14" fmla="*/ 2521605 h 3628333"/>
                  <a:gd name="connsiteX15" fmla="*/ 1577593 w 2219964"/>
                  <a:gd name="connsiteY15" fmla="*/ 2280445 h 3628333"/>
                  <a:gd name="connsiteX16" fmla="*/ 929475 w 2219964"/>
                  <a:gd name="connsiteY16" fmla="*/ 1762955 h 3628333"/>
                  <a:gd name="connsiteX17" fmla="*/ 1085224 w 2219964"/>
                  <a:gd name="connsiteY17" fmla="*/ 1501697 h 3628333"/>
                  <a:gd name="connsiteX18" fmla="*/ 1607739 w 2219964"/>
                  <a:gd name="connsiteY18" fmla="*/ 1873486 h 3628333"/>
                  <a:gd name="connsiteX19" fmla="*/ 1808706 w 2219964"/>
                  <a:gd name="connsiteY19" fmla="*/ 1592132 h 3628333"/>
                  <a:gd name="connsiteX20" fmla="*/ 211016 w 2219964"/>
                  <a:gd name="connsiteY20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16525 w 2219964"/>
                  <a:gd name="connsiteY10" fmla="*/ 2506532 h 3628333"/>
                  <a:gd name="connsiteX11" fmla="*/ 768701 w 2219964"/>
                  <a:gd name="connsiteY11" fmla="*/ 2647210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16525 w 2219964"/>
                  <a:gd name="connsiteY10" fmla="*/ 2506532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16525 w 2219964"/>
                  <a:gd name="connsiteY10" fmla="*/ 2506532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16525 w 2219964"/>
                  <a:gd name="connsiteY10" fmla="*/ 2506532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21549 w 2219964"/>
                  <a:gd name="connsiteY10" fmla="*/ 2541701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21549 w 2219964"/>
                  <a:gd name="connsiteY10" fmla="*/ 2541701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21549 w 2219964"/>
                  <a:gd name="connsiteY10" fmla="*/ 2541701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50727 w 2219964"/>
                  <a:gd name="connsiteY9" fmla="*/ 2752718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50727 w 2219964"/>
                  <a:gd name="connsiteY9" fmla="*/ 2752718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50727 w 2219964"/>
                  <a:gd name="connsiteY9" fmla="*/ 2752718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25606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25606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40679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40679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40679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40679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219964" h="3628333">
                    <a:moveTo>
                      <a:pt x="211016" y="125072"/>
                    </a:moveTo>
                    <a:cubicBezTo>
                      <a:pt x="82063" y="-10581"/>
                      <a:pt x="415334" y="-5556"/>
                      <a:pt x="532565" y="4492"/>
                    </a:cubicBezTo>
                    <a:cubicBezTo>
                      <a:pt x="1316336" y="749744"/>
                      <a:pt x="1562521" y="897119"/>
                      <a:pt x="2054889" y="1386139"/>
                    </a:cubicBezTo>
                    <a:cubicBezTo>
                      <a:pt x="2436727" y="1853387"/>
                      <a:pt x="2054890" y="2184984"/>
                      <a:pt x="1919238" y="2240250"/>
                    </a:cubicBezTo>
                    <a:cubicBezTo>
                      <a:pt x="2013024" y="2829754"/>
                      <a:pt x="1574243" y="2861572"/>
                      <a:pt x="1436916" y="2868272"/>
                    </a:cubicBezTo>
                    <a:cubicBezTo>
                      <a:pt x="1318010" y="3369015"/>
                      <a:pt x="993113" y="3251785"/>
                      <a:pt x="864159" y="3280255"/>
                    </a:cubicBezTo>
                    <a:cubicBezTo>
                      <a:pt x="689988" y="3775973"/>
                      <a:pt x="128953" y="3628598"/>
                      <a:pt x="0" y="3521415"/>
                    </a:cubicBezTo>
                    <a:lnTo>
                      <a:pt x="135654" y="3219965"/>
                    </a:lnTo>
                    <a:cubicBezTo>
                      <a:pt x="480646" y="3471175"/>
                      <a:pt x="574432" y="3204892"/>
                      <a:pt x="552660" y="3129530"/>
                    </a:cubicBezTo>
                    <a:cubicBezTo>
                      <a:pt x="592016" y="3040770"/>
                      <a:pt x="242837" y="2901769"/>
                      <a:pt x="140679" y="2757742"/>
                    </a:cubicBezTo>
                    <a:cubicBezTo>
                      <a:pt x="38521" y="2658933"/>
                      <a:pt x="138167" y="2418609"/>
                      <a:pt x="326573" y="2521604"/>
                    </a:cubicBezTo>
                    <a:cubicBezTo>
                      <a:pt x="449666" y="2609527"/>
                      <a:pt x="756978" y="2905955"/>
                      <a:pt x="884257" y="2938612"/>
                    </a:cubicBezTo>
                    <a:cubicBezTo>
                      <a:pt x="1142164" y="3031559"/>
                      <a:pt x="1168959" y="2766953"/>
                      <a:pt x="1080199" y="2702476"/>
                    </a:cubicBezTo>
                    <a:cubicBezTo>
                      <a:pt x="874208" y="2507371"/>
                      <a:pt x="825642" y="2548400"/>
                      <a:pt x="567735" y="2290493"/>
                    </a:cubicBezTo>
                    <a:cubicBezTo>
                      <a:pt x="487348" y="2178287"/>
                      <a:pt x="542613" y="2005790"/>
                      <a:pt x="763677" y="2049333"/>
                    </a:cubicBezTo>
                    <a:cubicBezTo>
                      <a:pt x="886769" y="2122184"/>
                      <a:pt x="1245998" y="2483086"/>
                      <a:pt x="1381651" y="2521605"/>
                    </a:cubicBezTo>
                    <a:cubicBezTo>
                      <a:pt x="1602715" y="2665631"/>
                      <a:pt x="1710734" y="2346597"/>
                      <a:pt x="1577593" y="2280445"/>
                    </a:cubicBezTo>
                    <a:cubicBezTo>
                      <a:pt x="1524839" y="2209269"/>
                      <a:pt x="1025771" y="1855065"/>
                      <a:pt x="929475" y="1762955"/>
                    </a:cubicBezTo>
                    <a:cubicBezTo>
                      <a:pt x="767027" y="1603855"/>
                      <a:pt x="966319" y="1414611"/>
                      <a:pt x="1085224" y="1501697"/>
                    </a:cubicBezTo>
                    <a:lnTo>
                      <a:pt x="1607739" y="1873486"/>
                    </a:lnTo>
                    <a:cubicBezTo>
                      <a:pt x="1847224" y="2077801"/>
                      <a:pt x="2001300" y="1724436"/>
                      <a:pt x="1808706" y="1592132"/>
                    </a:cubicBezTo>
                    <a:lnTo>
                      <a:pt x="211016" y="125072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4554845" y="1977563"/>
              <a:ext cx="914400" cy="914400"/>
              <a:chOff x="1660875" y="2846597"/>
              <a:chExt cx="719207" cy="721878"/>
            </a:xfrm>
          </p:grpSpPr>
          <p:sp>
            <p:nvSpPr>
              <p:cNvPr id="163" name="Freeform 162"/>
              <p:cNvSpPr/>
              <p:nvPr/>
            </p:nvSpPr>
            <p:spPr>
              <a:xfrm>
                <a:off x="1660875" y="2846597"/>
                <a:ext cx="719207" cy="721878"/>
              </a:xfrm>
              <a:custGeom>
                <a:avLst/>
                <a:gdLst>
                  <a:gd name="connsiteX0" fmla="*/ 650734 w 1328932"/>
                  <a:gd name="connsiteY0" fmla="*/ 0 h 1333866"/>
                  <a:gd name="connsiteX1" fmla="*/ 673812 w 1328932"/>
                  <a:gd name="connsiteY1" fmla="*/ 79029 h 1333866"/>
                  <a:gd name="connsiteX2" fmla="*/ 737265 w 1328932"/>
                  <a:gd name="connsiteY2" fmla="*/ 83600 h 1333866"/>
                  <a:gd name="connsiteX3" fmla="*/ 773421 w 1328932"/>
                  <a:gd name="connsiteY3" fmla="*/ 6872 h 1333866"/>
                  <a:gd name="connsiteX4" fmla="*/ 827889 w 1328932"/>
                  <a:gd name="connsiteY4" fmla="*/ 18371 h 1333866"/>
                  <a:gd name="connsiteX5" fmla="*/ 829920 w 1328932"/>
                  <a:gd name="connsiteY5" fmla="*/ 102056 h 1333866"/>
                  <a:gd name="connsiteX6" fmla="*/ 831348 w 1328932"/>
                  <a:gd name="connsiteY6" fmla="*/ 102369 h 1333866"/>
                  <a:gd name="connsiteX7" fmla="*/ 889394 w 1328932"/>
                  <a:gd name="connsiteY7" fmla="*/ 124065 h 1333866"/>
                  <a:gd name="connsiteX8" fmla="*/ 946313 w 1328932"/>
                  <a:gd name="connsiteY8" fmla="*/ 59656 h 1333866"/>
                  <a:gd name="connsiteX9" fmla="*/ 995394 w 1328932"/>
                  <a:gd name="connsiteY9" fmla="*/ 85925 h 1333866"/>
                  <a:gd name="connsiteX10" fmla="*/ 973958 w 1328932"/>
                  <a:gd name="connsiteY10" fmla="*/ 166793 h 1333866"/>
                  <a:gd name="connsiteX11" fmla="*/ 979500 w 1328932"/>
                  <a:gd name="connsiteY11" fmla="*/ 169802 h 1333866"/>
                  <a:gd name="connsiteX12" fmla="*/ 1029879 w 1328932"/>
                  <a:gd name="connsiteY12" fmla="*/ 205872 h 1333866"/>
                  <a:gd name="connsiteX13" fmla="*/ 1101640 w 1328932"/>
                  <a:gd name="connsiteY13" fmla="*/ 160568 h 1333866"/>
                  <a:gd name="connsiteX14" fmla="*/ 1141398 w 1328932"/>
                  <a:gd name="connsiteY14" fmla="*/ 199536 h 1333866"/>
                  <a:gd name="connsiteX15" fmla="*/ 1098344 w 1328932"/>
                  <a:gd name="connsiteY15" fmla="*/ 270865 h 1333866"/>
                  <a:gd name="connsiteX16" fmla="*/ 1122993 w 1328932"/>
                  <a:gd name="connsiteY16" fmla="*/ 298349 h 1333866"/>
                  <a:gd name="connsiteX17" fmla="*/ 1143724 w 1328932"/>
                  <a:gd name="connsiteY17" fmla="*/ 328433 h 1333866"/>
                  <a:gd name="connsiteX18" fmla="*/ 1223600 w 1328932"/>
                  <a:gd name="connsiteY18" fmla="*/ 305308 h 1333866"/>
                  <a:gd name="connsiteX19" fmla="*/ 1250976 w 1328932"/>
                  <a:gd name="connsiteY19" fmla="*/ 353781 h 1333866"/>
                  <a:gd name="connsiteX20" fmla="*/ 1191329 w 1328932"/>
                  <a:gd name="connsiteY20" fmla="*/ 408950 h 1333866"/>
                  <a:gd name="connsiteX21" fmla="*/ 1210078 w 1328932"/>
                  <a:gd name="connsiteY21" fmla="*/ 447173 h 1333866"/>
                  <a:gd name="connsiteX22" fmla="*/ 1215570 w 1328932"/>
                  <a:gd name="connsiteY22" fmla="*/ 462927 h 1333866"/>
                  <a:gd name="connsiteX23" fmla="*/ 1297622 w 1328932"/>
                  <a:gd name="connsiteY23" fmla="*/ 459842 h 1333866"/>
                  <a:gd name="connsiteX24" fmla="*/ 1312464 w 1328932"/>
                  <a:gd name="connsiteY24" fmla="*/ 513497 h 1333866"/>
                  <a:gd name="connsiteX25" fmla="*/ 1241172 w 1328932"/>
                  <a:gd name="connsiteY25" fmla="*/ 552647 h 1333866"/>
                  <a:gd name="connsiteX26" fmla="*/ 1249127 w 1328932"/>
                  <a:gd name="connsiteY26" fmla="*/ 605882 h 1333866"/>
                  <a:gd name="connsiteX27" fmla="*/ 1250047 w 1328932"/>
                  <a:gd name="connsiteY27" fmla="*/ 624091 h 1333866"/>
                  <a:gd name="connsiteX28" fmla="*/ 1328932 w 1328932"/>
                  <a:gd name="connsiteY28" fmla="*/ 642753 h 1333866"/>
                  <a:gd name="connsiteX29" fmla="*/ 1328932 w 1328932"/>
                  <a:gd name="connsiteY29" fmla="*/ 698423 h 1333866"/>
                  <a:gd name="connsiteX30" fmla="*/ 1249387 w 1328932"/>
                  <a:gd name="connsiteY30" fmla="*/ 717241 h 1333866"/>
                  <a:gd name="connsiteX31" fmla="*/ 1248684 w 1328932"/>
                  <a:gd name="connsiteY31" fmla="*/ 730252 h 1333866"/>
                  <a:gd name="connsiteX32" fmla="*/ 1241256 w 1328932"/>
                  <a:gd name="connsiteY32" fmla="*/ 775655 h 1333866"/>
                  <a:gd name="connsiteX33" fmla="*/ 1313610 w 1328932"/>
                  <a:gd name="connsiteY33" fmla="*/ 816722 h 1333866"/>
                  <a:gd name="connsiteX34" fmla="*/ 1298015 w 1328932"/>
                  <a:gd name="connsiteY34" fmla="*/ 870162 h 1333866"/>
                  <a:gd name="connsiteX35" fmla="*/ 1216626 w 1328932"/>
                  <a:gd name="connsiteY35" fmla="*/ 865957 h 1333866"/>
                  <a:gd name="connsiteX36" fmla="*/ 1199435 w 1328932"/>
                  <a:gd name="connsiteY36" fmla="*/ 909582 h 1333866"/>
                  <a:gd name="connsiteX37" fmla="*/ 1190578 w 1328932"/>
                  <a:gd name="connsiteY37" fmla="*/ 927031 h 1333866"/>
                  <a:gd name="connsiteX38" fmla="*/ 1249948 w 1328932"/>
                  <a:gd name="connsiteY38" fmla="*/ 987184 h 1333866"/>
                  <a:gd name="connsiteX39" fmla="*/ 1220394 w 1328932"/>
                  <a:gd name="connsiteY39" fmla="*/ 1034361 h 1333866"/>
                  <a:gd name="connsiteX40" fmla="*/ 1142032 w 1328932"/>
                  <a:gd name="connsiteY40" fmla="*/ 1007753 h 1333866"/>
                  <a:gd name="connsiteX41" fmla="*/ 1123131 w 1328932"/>
                  <a:gd name="connsiteY41" fmla="*/ 1033400 h 1333866"/>
                  <a:gd name="connsiteX42" fmla="*/ 1101486 w 1328932"/>
                  <a:gd name="connsiteY42" fmla="*/ 1057553 h 1333866"/>
                  <a:gd name="connsiteX43" fmla="*/ 1142950 w 1328932"/>
                  <a:gd name="connsiteY43" fmla="*/ 1129630 h 1333866"/>
                  <a:gd name="connsiteX44" fmla="*/ 1102383 w 1328932"/>
                  <a:gd name="connsiteY44" fmla="*/ 1167754 h 1333866"/>
                  <a:gd name="connsiteX45" fmla="*/ 1034133 w 1328932"/>
                  <a:gd name="connsiteY45" fmla="*/ 1122634 h 1333866"/>
                  <a:gd name="connsiteX46" fmla="*/ 1032173 w 1328932"/>
                  <a:gd name="connsiteY46" fmla="*/ 1124392 h 1333866"/>
                  <a:gd name="connsiteX47" fmla="*/ 979289 w 1328932"/>
                  <a:gd name="connsiteY47" fmla="*/ 1160837 h 1333866"/>
                  <a:gd name="connsiteX48" fmla="*/ 1000685 w 1328932"/>
                  <a:gd name="connsiteY48" fmla="*/ 1238240 h 1333866"/>
                  <a:gd name="connsiteX49" fmla="*/ 951883 w 1328932"/>
                  <a:gd name="connsiteY49" fmla="*/ 1265027 h 1333866"/>
                  <a:gd name="connsiteX50" fmla="*/ 897347 w 1328932"/>
                  <a:gd name="connsiteY50" fmla="*/ 1204611 h 1333866"/>
                  <a:gd name="connsiteX51" fmla="*/ 883350 w 1328932"/>
                  <a:gd name="connsiteY51" fmla="*/ 1211476 h 1333866"/>
                  <a:gd name="connsiteX52" fmla="*/ 839354 w 1328932"/>
                  <a:gd name="connsiteY52" fmla="*/ 1226815 h 1333866"/>
                  <a:gd name="connsiteX53" fmla="*/ 836102 w 1328932"/>
                  <a:gd name="connsiteY53" fmla="*/ 1310758 h 1333866"/>
                  <a:gd name="connsiteX54" fmla="*/ 781473 w 1328932"/>
                  <a:gd name="connsiteY54" fmla="*/ 1321469 h 1333866"/>
                  <a:gd name="connsiteX55" fmla="*/ 747723 w 1328932"/>
                  <a:gd name="connsiteY55" fmla="*/ 1247077 h 1333866"/>
                  <a:gd name="connsiteX56" fmla="*/ 724640 w 1328932"/>
                  <a:gd name="connsiteY56" fmla="*/ 1250526 h 1333866"/>
                  <a:gd name="connsiteX57" fmla="*/ 680478 w 1328932"/>
                  <a:gd name="connsiteY57" fmla="*/ 1252756 h 1333866"/>
                  <a:gd name="connsiteX58" fmla="*/ 661856 w 1328932"/>
                  <a:gd name="connsiteY58" fmla="*/ 1333866 h 1333866"/>
                  <a:gd name="connsiteX59" fmla="*/ 596350 w 1328932"/>
                  <a:gd name="connsiteY59" fmla="*/ 1330734 h 1333866"/>
                  <a:gd name="connsiteX60" fmla="*/ 585472 w 1328932"/>
                  <a:gd name="connsiteY60" fmla="*/ 1247624 h 1333866"/>
                  <a:gd name="connsiteX61" fmla="*/ 546140 w 1328932"/>
                  <a:gd name="connsiteY61" fmla="*/ 1241622 h 1333866"/>
                  <a:gd name="connsiteX62" fmla="*/ 517647 w 1328932"/>
                  <a:gd name="connsiteY62" fmla="*/ 1234296 h 1333866"/>
                  <a:gd name="connsiteX63" fmla="*/ 473128 w 1328932"/>
                  <a:gd name="connsiteY63" fmla="*/ 1305805 h 1333866"/>
                  <a:gd name="connsiteX64" fmla="*/ 420365 w 1328932"/>
                  <a:gd name="connsiteY64" fmla="*/ 1288054 h 1333866"/>
                  <a:gd name="connsiteX65" fmla="*/ 428168 w 1328932"/>
                  <a:gd name="connsiteY65" fmla="*/ 1203686 h 1333866"/>
                  <a:gd name="connsiteX66" fmla="*/ 384478 w 1328932"/>
                  <a:gd name="connsiteY66" fmla="*/ 1182639 h 1333866"/>
                  <a:gd name="connsiteX67" fmla="*/ 369786 w 1328932"/>
                  <a:gd name="connsiteY67" fmla="*/ 1173432 h 1333866"/>
                  <a:gd name="connsiteX68" fmla="*/ 307149 w 1328932"/>
                  <a:gd name="connsiteY68" fmla="*/ 1230379 h 1333866"/>
                  <a:gd name="connsiteX69" fmla="*/ 261223 w 1328932"/>
                  <a:gd name="connsiteY69" fmla="*/ 1198917 h 1333866"/>
                  <a:gd name="connsiteX70" fmla="*/ 292070 w 1328932"/>
                  <a:gd name="connsiteY70" fmla="*/ 1118989 h 1333866"/>
                  <a:gd name="connsiteX71" fmla="*/ 266224 w 1328932"/>
                  <a:gd name="connsiteY71" fmla="*/ 1097936 h 1333866"/>
                  <a:gd name="connsiteX72" fmla="*/ 244458 w 1328932"/>
                  <a:gd name="connsiteY72" fmla="*/ 1075225 h 1333866"/>
                  <a:gd name="connsiteX73" fmla="*/ 170858 w 1328932"/>
                  <a:gd name="connsiteY73" fmla="*/ 1111425 h 1333866"/>
                  <a:gd name="connsiteX74" fmla="*/ 135448 w 1328932"/>
                  <a:gd name="connsiteY74" fmla="*/ 1068469 h 1333866"/>
                  <a:gd name="connsiteX75" fmla="*/ 184688 w 1328932"/>
                  <a:gd name="connsiteY75" fmla="*/ 1003573 h 1333866"/>
                  <a:gd name="connsiteX76" fmla="*/ 172420 w 1328932"/>
                  <a:gd name="connsiteY76" fmla="*/ 987127 h 1333866"/>
                  <a:gd name="connsiteX77" fmla="*/ 147185 w 1328932"/>
                  <a:gd name="connsiteY77" fmla="*/ 943990 h 1333866"/>
                  <a:gd name="connsiteX78" fmla="*/ 62973 w 1328932"/>
                  <a:gd name="connsiteY78" fmla="*/ 954755 h 1333866"/>
                  <a:gd name="connsiteX79" fmla="*/ 43391 w 1328932"/>
                  <a:gd name="connsiteY79" fmla="*/ 902643 h 1333866"/>
                  <a:gd name="connsiteX80" fmla="*/ 109846 w 1328932"/>
                  <a:gd name="connsiteY80" fmla="*/ 857979 h 1333866"/>
                  <a:gd name="connsiteX81" fmla="*/ 99254 w 1328932"/>
                  <a:gd name="connsiteY81" fmla="*/ 826823 h 1333866"/>
                  <a:gd name="connsiteX82" fmla="*/ 91285 w 1328932"/>
                  <a:gd name="connsiteY82" fmla="*/ 789027 h 1333866"/>
                  <a:gd name="connsiteX83" fmla="*/ 6677 w 1328932"/>
                  <a:gd name="connsiteY83" fmla="*/ 779505 h 1333866"/>
                  <a:gd name="connsiteX84" fmla="*/ 0 w 1328932"/>
                  <a:gd name="connsiteY84" fmla="*/ 724237 h 1333866"/>
                  <a:gd name="connsiteX85" fmla="*/ 78990 w 1328932"/>
                  <a:gd name="connsiteY85" fmla="*/ 695176 h 1333866"/>
                  <a:gd name="connsiteX86" fmla="*/ 76963 w 1328932"/>
                  <a:gd name="connsiteY86" fmla="*/ 665961 h 1333866"/>
                  <a:gd name="connsiteX87" fmla="*/ 79576 w 1328932"/>
                  <a:gd name="connsiteY87" fmla="*/ 627118 h 1333866"/>
                  <a:gd name="connsiteX88" fmla="*/ 2614 w 1328932"/>
                  <a:gd name="connsiteY88" fmla="*/ 599172 h 1333866"/>
                  <a:gd name="connsiteX89" fmla="*/ 9058 w 1328932"/>
                  <a:gd name="connsiteY89" fmla="*/ 543876 h 1333866"/>
                  <a:gd name="connsiteX90" fmla="*/ 92983 w 1328932"/>
                  <a:gd name="connsiteY90" fmla="*/ 534071 h 1333866"/>
                  <a:gd name="connsiteX91" fmla="*/ 97943 w 1328932"/>
                  <a:gd name="connsiteY91" fmla="*/ 509790 h 1333866"/>
                  <a:gd name="connsiteX92" fmla="*/ 113985 w 1328932"/>
                  <a:gd name="connsiteY92" fmla="*/ 463592 h 1333866"/>
                  <a:gd name="connsiteX93" fmla="*/ 48447 w 1328932"/>
                  <a:gd name="connsiteY93" fmla="*/ 415605 h 1333866"/>
                  <a:gd name="connsiteX94" fmla="*/ 70110 w 1328932"/>
                  <a:gd name="connsiteY94" fmla="*/ 364324 h 1333866"/>
                  <a:gd name="connsiteX95" fmla="*/ 152721 w 1328932"/>
                  <a:gd name="connsiteY95" fmla="*/ 378283 h 1333866"/>
                  <a:gd name="connsiteX96" fmla="*/ 157150 w 1328932"/>
                  <a:gd name="connsiteY96" fmla="*/ 369453 h 1333866"/>
                  <a:gd name="connsiteX97" fmla="*/ 186297 w 1328932"/>
                  <a:gd name="connsiteY97" fmla="*/ 325075 h 1333866"/>
                  <a:gd name="connsiteX98" fmla="*/ 136161 w 1328932"/>
                  <a:gd name="connsiteY98" fmla="*/ 260212 h 1333866"/>
                  <a:gd name="connsiteX99" fmla="*/ 171186 w 1328932"/>
                  <a:gd name="connsiteY99" fmla="*/ 216941 h 1333866"/>
                  <a:gd name="connsiteX100" fmla="*/ 247151 w 1328932"/>
                  <a:gd name="connsiteY100" fmla="*/ 253464 h 1333866"/>
                  <a:gd name="connsiteX101" fmla="*/ 270780 w 1328932"/>
                  <a:gd name="connsiteY101" fmla="*/ 229826 h 1333866"/>
                  <a:gd name="connsiteX102" fmla="*/ 297792 w 1328932"/>
                  <a:gd name="connsiteY102" fmla="*/ 208570 h 1333866"/>
                  <a:gd name="connsiteX103" fmla="*/ 270314 w 1328932"/>
                  <a:gd name="connsiteY103" fmla="*/ 128437 h 1333866"/>
                  <a:gd name="connsiteX104" fmla="*/ 317402 w 1328932"/>
                  <a:gd name="connsiteY104" fmla="*/ 98741 h 1333866"/>
                  <a:gd name="connsiteX105" fmla="*/ 375534 w 1328932"/>
                  <a:gd name="connsiteY105" fmla="*/ 155773 h 1333866"/>
                  <a:gd name="connsiteX106" fmla="*/ 403413 w 1328932"/>
                  <a:gd name="connsiteY106" fmla="*/ 139438 h 1333866"/>
                  <a:gd name="connsiteX107" fmla="*/ 430496 w 1328932"/>
                  <a:gd name="connsiteY107" fmla="*/ 127395 h 1333866"/>
                  <a:gd name="connsiteX108" fmla="*/ 422175 w 1328932"/>
                  <a:gd name="connsiteY108" fmla="*/ 43886 h 1333866"/>
                  <a:gd name="connsiteX109" fmla="*/ 474812 w 1328932"/>
                  <a:gd name="connsiteY109" fmla="*/ 25761 h 1333866"/>
                  <a:gd name="connsiteX110" fmla="*/ 519802 w 1328932"/>
                  <a:gd name="connsiteY110" fmla="*/ 96899 h 1333866"/>
                  <a:gd name="connsiteX111" fmla="*/ 546140 w 1328932"/>
                  <a:gd name="connsiteY111" fmla="*/ 90300 h 1333866"/>
                  <a:gd name="connsiteX112" fmla="*/ 580134 w 1328932"/>
                  <a:gd name="connsiteY112" fmla="*/ 85112 h 1333866"/>
                  <a:gd name="connsiteX113" fmla="*/ 595139 w 1328932"/>
                  <a:gd name="connsiteY113" fmla="*/ 2884 h 1333866"/>
                  <a:gd name="connsiteX114" fmla="*/ 650734 w 1328932"/>
                  <a:gd name="connsiteY114" fmla="*/ 0 h 1333866"/>
                  <a:gd name="connsiteX115" fmla="*/ 664466 w 1328932"/>
                  <a:gd name="connsiteY115" fmla="*/ 190154 h 1333866"/>
                  <a:gd name="connsiteX116" fmla="*/ 187687 w 1328932"/>
                  <a:gd name="connsiteY116" fmla="*/ 666933 h 1333866"/>
                  <a:gd name="connsiteX117" fmla="*/ 664466 w 1328932"/>
                  <a:gd name="connsiteY117" fmla="*/ 1143712 h 1333866"/>
                  <a:gd name="connsiteX118" fmla="*/ 1141245 w 1328932"/>
                  <a:gd name="connsiteY118" fmla="*/ 666933 h 1333866"/>
                  <a:gd name="connsiteX119" fmla="*/ 664466 w 1328932"/>
                  <a:gd name="connsiteY119" fmla="*/ 190154 h 1333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328932" h="1333866">
                    <a:moveTo>
                      <a:pt x="650734" y="0"/>
                    </a:moveTo>
                    <a:lnTo>
                      <a:pt x="673812" y="79029"/>
                    </a:lnTo>
                    <a:lnTo>
                      <a:pt x="737265" y="83600"/>
                    </a:lnTo>
                    <a:lnTo>
                      <a:pt x="773421" y="6872"/>
                    </a:lnTo>
                    <a:lnTo>
                      <a:pt x="827889" y="18371"/>
                    </a:lnTo>
                    <a:lnTo>
                      <a:pt x="829920" y="102056"/>
                    </a:lnTo>
                    <a:lnTo>
                      <a:pt x="831348" y="102369"/>
                    </a:lnTo>
                    <a:lnTo>
                      <a:pt x="889394" y="124065"/>
                    </a:lnTo>
                    <a:lnTo>
                      <a:pt x="946313" y="59656"/>
                    </a:lnTo>
                    <a:lnTo>
                      <a:pt x="995394" y="85925"/>
                    </a:lnTo>
                    <a:lnTo>
                      <a:pt x="973958" y="166793"/>
                    </a:lnTo>
                    <a:lnTo>
                      <a:pt x="979500" y="169802"/>
                    </a:lnTo>
                    <a:lnTo>
                      <a:pt x="1029879" y="205872"/>
                    </a:lnTo>
                    <a:lnTo>
                      <a:pt x="1101640" y="160568"/>
                    </a:lnTo>
                    <a:lnTo>
                      <a:pt x="1141398" y="199536"/>
                    </a:lnTo>
                    <a:lnTo>
                      <a:pt x="1098344" y="270865"/>
                    </a:lnTo>
                    <a:lnTo>
                      <a:pt x="1122993" y="298349"/>
                    </a:lnTo>
                    <a:lnTo>
                      <a:pt x="1143724" y="328433"/>
                    </a:lnTo>
                    <a:lnTo>
                      <a:pt x="1223600" y="305308"/>
                    </a:lnTo>
                    <a:lnTo>
                      <a:pt x="1250976" y="353781"/>
                    </a:lnTo>
                    <a:lnTo>
                      <a:pt x="1191329" y="408950"/>
                    </a:lnTo>
                    <a:lnTo>
                      <a:pt x="1210078" y="447173"/>
                    </a:lnTo>
                    <a:lnTo>
                      <a:pt x="1215570" y="462927"/>
                    </a:lnTo>
                    <a:lnTo>
                      <a:pt x="1297622" y="459842"/>
                    </a:lnTo>
                    <a:lnTo>
                      <a:pt x="1312464" y="513497"/>
                    </a:lnTo>
                    <a:lnTo>
                      <a:pt x="1241172" y="552647"/>
                    </a:lnTo>
                    <a:lnTo>
                      <a:pt x="1249127" y="605882"/>
                    </a:lnTo>
                    <a:lnTo>
                      <a:pt x="1250047" y="624091"/>
                    </a:lnTo>
                    <a:lnTo>
                      <a:pt x="1328932" y="642753"/>
                    </a:lnTo>
                    <a:lnTo>
                      <a:pt x="1328932" y="698423"/>
                    </a:lnTo>
                    <a:lnTo>
                      <a:pt x="1249387" y="717241"/>
                    </a:lnTo>
                    <a:lnTo>
                      <a:pt x="1248684" y="730252"/>
                    </a:lnTo>
                    <a:lnTo>
                      <a:pt x="1241256" y="775655"/>
                    </a:lnTo>
                    <a:lnTo>
                      <a:pt x="1313610" y="816722"/>
                    </a:lnTo>
                    <a:lnTo>
                      <a:pt x="1298015" y="870162"/>
                    </a:lnTo>
                    <a:lnTo>
                      <a:pt x="1216626" y="865957"/>
                    </a:lnTo>
                    <a:lnTo>
                      <a:pt x="1199435" y="909582"/>
                    </a:lnTo>
                    <a:lnTo>
                      <a:pt x="1190578" y="927031"/>
                    </a:lnTo>
                    <a:lnTo>
                      <a:pt x="1249948" y="987184"/>
                    </a:lnTo>
                    <a:lnTo>
                      <a:pt x="1220394" y="1034361"/>
                    </a:lnTo>
                    <a:lnTo>
                      <a:pt x="1142032" y="1007753"/>
                    </a:lnTo>
                    <a:lnTo>
                      <a:pt x="1123131" y="1033400"/>
                    </a:lnTo>
                    <a:lnTo>
                      <a:pt x="1101486" y="1057553"/>
                    </a:lnTo>
                    <a:lnTo>
                      <a:pt x="1142950" y="1129630"/>
                    </a:lnTo>
                    <a:lnTo>
                      <a:pt x="1102383" y="1167754"/>
                    </a:lnTo>
                    <a:lnTo>
                      <a:pt x="1034133" y="1122634"/>
                    </a:lnTo>
                    <a:lnTo>
                      <a:pt x="1032173" y="1124392"/>
                    </a:lnTo>
                    <a:lnTo>
                      <a:pt x="979289" y="1160837"/>
                    </a:lnTo>
                    <a:lnTo>
                      <a:pt x="1000685" y="1238240"/>
                    </a:lnTo>
                    <a:lnTo>
                      <a:pt x="951883" y="1265027"/>
                    </a:lnTo>
                    <a:lnTo>
                      <a:pt x="897347" y="1204611"/>
                    </a:lnTo>
                    <a:lnTo>
                      <a:pt x="883350" y="1211476"/>
                    </a:lnTo>
                    <a:lnTo>
                      <a:pt x="839354" y="1226815"/>
                    </a:lnTo>
                    <a:lnTo>
                      <a:pt x="836102" y="1310758"/>
                    </a:lnTo>
                    <a:lnTo>
                      <a:pt x="781473" y="1321469"/>
                    </a:lnTo>
                    <a:lnTo>
                      <a:pt x="747723" y="1247077"/>
                    </a:lnTo>
                    <a:lnTo>
                      <a:pt x="724640" y="1250526"/>
                    </a:lnTo>
                    <a:lnTo>
                      <a:pt x="680478" y="1252756"/>
                    </a:lnTo>
                    <a:lnTo>
                      <a:pt x="661856" y="1333866"/>
                    </a:lnTo>
                    <a:lnTo>
                      <a:pt x="596350" y="1330734"/>
                    </a:lnTo>
                    <a:lnTo>
                      <a:pt x="585472" y="1247624"/>
                    </a:lnTo>
                    <a:lnTo>
                      <a:pt x="546140" y="1241622"/>
                    </a:lnTo>
                    <a:lnTo>
                      <a:pt x="517647" y="1234296"/>
                    </a:lnTo>
                    <a:lnTo>
                      <a:pt x="473128" y="1305805"/>
                    </a:lnTo>
                    <a:lnTo>
                      <a:pt x="420365" y="1288054"/>
                    </a:lnTo>
                    <a:lnTo>
                      <a:pt x="428168" y="1203686"/>
                    </a:lnTo>
                    <a:lnTo>
                      <a:pt x="384478" y="1182639"/>
                    </a:lnTo>
                    <a:lnTo>
                      <a:pt x="369786" y="1173432"/>
                    </a:lnTo>
                    <a:lnTo>
                      <a:pt x="307149" y="1230379"/>
                    </a:lnTo>
                    <a:lnTo>
                      <a:pt x="261223" y="1198917"/>
                    </a:lnTo>
                    <a:lnTo>
                      <a:pt x="292070" y="1118989"/>
                    </a:lnTo>
                    <a:lnTo>
                      <a:pt x="266224" y="1097936"/>
                    </a:lnTo>
                    <a:lnTo>
                      <a:pt x="244458" y="1075225"/>
                    </a:lnTo>
                    <a:lnTo>
                      <a:pt x="170858" y="1111425"/>
                    </a:lnTo>
                    <a:lnTo>
                      <a:pt x="135448" y="1068469"/>
                    </a:lnTo>
                    <a:lnTo>
                      <a:pt x="184688" y="1003573"/>
                    </a:lnTo>
                    <a:lnTo>
                      <a:pt x="172420" y="987127"/>
                    </a:lnTo>
                    <a:lnTo>
                      <a:pt x="147185" y="943990"/>
                    </a:lnTo>
                    <a:lnTo>
                      <a:pt x="62973" y="954755"/>
                    </a:lnTo>
                    <a:lnTo>
                      <a:pt x="43391" y="902643"/>
                    </a:lnTo>
                    <a:lnTo>
                      <a:pt x="109846" y="857979"/>
                    </a:lnTo>
                    <a:lnTo>
                      <a:pt x="99254" y="826823"/>
                    </a:lnTo>
                    <a:lnTo>
                      <a:pt x="91285" y="789027"/>
                    </a:lnTo>
                    <a:lnTo>
                      <a:pt x="6677" y="779505"/>
                    </a:lnTo>
                    <a:lnTo>
                      <a:pt x="0" y="724237"/>
                    </a:lnTo>
                    <a:lnTo>
                      <a:pt x="78990" y="695176"/>
                    </a:lnTo>
                    <a:lnTo>
                      <a:pt x="76963" y="665961"/>
                    </a:lnTo>
                    <a:lnTo>
                      <a:pt x="79576" y="627118"/>
                    </a:lnTo>
                    <a:lnTo>
                      <a:pt x="2614" y="599172"/>
                    </a:lnTo>
                    <a:lnTo>
                      <a:pt x="9058" y="543876"/>
                    </a:lnTo>
                    <a:lnTo>
                      <a:pt x="92983" y="534071"/>
                    </a:lnTo>
                    <a:lnTo>
                      <a:pt x="97943" y="509790"/>
                    </a:lnTo>
                    <a:lnTo>
                      <a:pt x="113985" y="463592"/>
                    </a:lnTo>
                    <a:lnTo>
                      <a:pt x="48447" y="415605"/>
                    </a:lnTo>
                    <a:lnTo>
                      <a:pt x="70110" y="364324"/>
                    </a:lnTo>
                    <a:lnTo>
                      <a:pt x="152721" y="378283"/>
                    </a:lnTo>
                    <a:lnTo>
                      <a:pt x="157150" y="369453"/>
                    </a:lnTo>
                    <a:lnTo>
                      <a:pt x="186297" y="325075"/>
                    </a:lnTo>
                    <a:lnTo>
                      <a:pt x="136161" y="260212"/>
                    </a:lnTo>
                    <a:lnTo>
                      <a:pt x="171186" y="216941"/>
                    </a:lnTo>
                    <a:lnTo>
                      <a:pt x="247151" y="253464"/>
                    </a:lnTo>
                    <a:lnTo>
                      <a:pt x="270780" y="229826"/>
                    </a:lnTo>
                    <a:lnTo>
                      <a:pt x="297792" y="208570"/>
                    </a:lnTo>
                    <a:lnTo>
                      <a:pt x="270314" y="128437"/>
                    </a:lnTo>
                    <a:lnTo>
                      <a:pt x="317402" y="98741"/>
                    </a:lnTo>
                    <a:lnTo>
                      <a:pt x="375534" y="155773"/>
                    </a:lnTo>
                    <a:lnTo>
                      <a:pt x="403413" y="139438"/>
                    </a:lnTo>
                    <a:lnTo>
                      <a:pt x="430496" y="127395"/>
                    </a:lnTo>
                    <a:lnTo>
                      <a:pt x="422175" y="43886"/>
                    </a:lnTo>
                    <a:lnTo>
                      <a:pt x="474812" y="25761"/>
                    </a:lnTo>
                    <a:lnTo>
                      <a:pt x="519802" y="96899"/>
                    </a:lnTo>
                    <a:lnTo>
                      <a:pt x="546140" y="90300"/>
                    </a:lnTo>
                    <a:lnTo>
                      <a:pt x="580134" y="85112"/>
                    </a:lnTo>
                    <a:lnTo>
                      <a:pt x="595139" y="2884"/>
                    </a:lnTo>
                    <a:lnTo>
                      <a:pt x="650734" y="0"/>
                    </a:lnTo>
                    <a:close/>
                    <a:moveTo>
                      <a:pt x="664466" y="190154"/>
                    </a:moveTo>
                    <a:cubicBezTo>
                      <a:pt x="401148" y="190154"/>
                      <a:pt x="187687" y="403615"/>
                      <a:pt x="187687" y="666933"/>
                    </a:cubicBezTo>
                    <a:cubicBezTo>
                      <a:pt x="187687" y="930251"/>
                      <a:pt x="401148" y="1143712"/>
                      <a:pt x="664466" y="1143712"/>
                    </a:cubicBezTo>
                    <a:cubicBezTo>
                      <a:pt x="927784" y="1143712"/>
                      <a:pt x="1141245" y="930251"/>
                      <a:pt x="1141245" y="666933"/>
                    </a:cubicBezTo>
                    <a:cubicBezTo>
                      <a:pt x="1141245" y="403615"/>
                      <a:pt x="927784" y="190154"/>
                      <a:pt x="664466" y="190154"/>
                    </a:cubicBezTo>
                    <a:close/>
                  </a:path>
                </a:pathLst>
              </a:custGeom>
              <a:solidFill>
                <a:srgbClr val="00206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" name="Oval 163"/>
              <p:cNvSpPr/>
              <p:nvPr/>
            </p:nvSpPr>
            <p:spPr>
              <a:xfrm>
                <a:off x="1780695" y="2967753"/>
                <a:ext cx="479566" cy="479567"/>
              </a:xfrm>
              <a:prstGeom prst="ellipse">
                <a:avLst/>
              </a:prstGeom>
              <a:solidFill>
                <a:srgbClr val="00206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" name="Freeform 164"/>
              <p:cNvSpPr/>
              <p:nvPr/>
            </p:nvSpPr>
            <p:spPr>
              <a:xfrm>
                <a:off x="1965936" y="3154037"/>
                <a:ext cx="107945" cy="107148"/>
              </a:xfrm>
              <a:custGeom>
                <a:avLst/>
                <a:gdLst>
                  <a:gd name="connsiteX0" fmla="*/ 1173387 w 2334255"/>
                  <a:gd name="connsiteY0" fmla="*/ 891273 h 2317034"/>
                  <a:gd name="connsiteX1" fmla="*/ 909614 w 2334255"/>
                  <a:gd name="connsiteY1" fmla="*/ 1154313 h 2317034"/>
                  <a:gd name="connsiteX2" fmla="*/ 1173387 w 2334255"/>
                  <a:gd name="connsiteY2" fmla="*/ 1417353 h 2317034"/>
                  <a:gd name="connsiteX3" fmla="*/ 1437160 w 2334255"/>
                  <a:gd name="connsiteY3" fmla="*/ 1154313 h 2317034"/>
                  <a:gd name="connsiteX4" fmla="*/ 1173387 w 2334255"/>
                  <a:gd name="connsiteY4" fmla="*/ 891273 h 2317034"/>
                  <a:gd name="connsiteX5" fmla="*/ 940186 w 2334255"/>
                  <a:gd name="connsiteY5" fmla="*/ 0 h 2317034"/>
                  <a:gd name="connsiteX6" fmla="*/ 1411288 w 2334255"/>
                  <a:gd name="connsiteY6" fmla="*/ 0 h 2317034"/>
                  <a:gd name="connsiteX7" fmla="*/ 1411288 w 2334255"/>
                  <a:gd name="connsiteY7" fmla="*/ 383639 h 2317034"/>
                  <a:gd name="connsiteX8" fmla="*/ 1413816 w 2334255"/>
                  <a:gd name="connsiteY8" fmla="*/ 384287 h 2317034"/>
                  <a:gd name="connsiteX9" fmla="*/ 1488099 w 2334255"/>
                  <a:gd name="connsiteY9" fmla="*/ 411399 h 2317034"/>
                  <a:gd name="connsiteX10" fmla="*/ 1533435 w 2334255"/>
                  <a:gd name="connsiteY10" fmla="*/ 435938 h 2317034"/>
                  <a:gd name="connsiteX11" fmla="*/ 1836305 w 2334255"/>
                  <a:gd name="connsiteY11" fmla="*/ 133068 h 2317034"/>
                  <a:gd name="connsiteX12" fmla="*/ 2199593 w 2334255"/>
                  <a:gd name="connsiteY12" fmla="*/ 496356 h 2317034"/>
                  <a:gd name="connsiteX13" fmla="*/ 1896202 w 2334255"/>
                  <a:gd name="connsiteY13" fmla="*/ 799747 h 2317034"/>
                  <a:gd name="connsiteX14" fmla="*/ 1918370 w 2334255"/>
                  <a:gd name="connsiteY14" fmla="*/ 840475 h 2317034"/>
                  <a:gd name="connsiteX15" fmla="*/ 1945558 w 2334255"/>
                  <a:gd name="connsiteY15" fmla="*/ 914552 h 2317034"/>
                  <a:gd name="connsiteX16" fmla="*/ 1948956 w 2334255"/>
                  <a:gd name="connsiteY16" fmla="*/ 927731 h 2317034"/>
                  <a:gd name="connsiteX17" fmla="*/ 2334255 w 2334255"/>
                  <a:gd name="connsiteY17" fmla="*/ 927731 h 2317034"/>
                  <a:gd name="connsiteX18" fmla="*/ 2334255 w 2334255"/>
                  <a:gd name="connsiteY18" fmla="*/ 1383586 h 2317034"/>
                  <a:gd name="connsiteX19" fmla="*/ 1948262 w 2334255"/>
                  <a:gd name="connsiteY19" fmla="*/ 1383586 h 2317034"/>
                  <a:gd name="connsiteX20" fmla="*/ 1945558 w 2334255"/>
                  <a:gd name="connsiteY20" fmla="*/ 1394074 h 2317034"/>
                  <a:gd name="connsiteX21" fmla="*/ 1918370 w 2334255"/>
                  <a:gd name="connsiteY21" fmla="*/ 1468152 h 2317034"/>
                  <a:gd name="connsiteX22" fmla="*/ 1893705 w 2334255"/>
                  <a:gd name="connsiteY22" fmla="*/ 1513465 h 2317034"/>
                  <a:gd name="connsiteX23" fmla="*/ 2199593 w 2334255"/>
                  <a:gd name="connsiteY23" fmla="*/ 1819353 h 2317034"/>
                  <a:gd name="connsiteX24" fmla="*/ 1836305 w 2334255"/>
                  <a:gd name="connsiteY24" fmla="*/ 2182641 h 2317034"/>
                  <a:gd name="connsiteX25" fmla="*/ 1528839 w 2334255"/>
                  <a:gd name="connsiteY25" fmla="*/ 1875175 h 2317034"/>
                  <a:gd name="connsiteX26" fmla="*/ 1488099 w 2334255"/>
                  <a:gd name="connsiteY26" fmla="*/ 1897227 h 2317034"/>
                  <a:gd name="connsiteX27" fmla="*/ 1413816 w 2334255"/>
                  <a:gd name="connsiteY27" fmla="*/ 1924340 h 2317034"/>
                  <a:gd name="connsiteX28" fmla="*/ 1411288 w 2334255"/>
                  <a:gd name="connsiteY28" fmla="*/ 1924988 h 2317034"/>
                  <a:gd name="connsiteX29" fmla="*/ 1411288 w 2334255"/>
                  <a:gd name="connsiteY29" fmla="*/ 2317034 h 2317034"/>
                  <a:gd name="connsiteX30" fmla="*/ 940186 w 2334255"/>
                  <a:gd name="connsiteY30" fmla="*/ 2317034 h 2317034"/>
                  <a:gd name="connsiteX31" fmla="*/ 940186 w 2334255"/>
                  <a:gd name="connsiteY31" fmla="*/ 1926193 h 2317034"/>
                  <a:gd name="connsiteX32" fmla="*/ 932958 w 2334255"/>
                  <a:gd name="connsiteY32" fmla="*/ 1924340 h 2317034"/>
                  <a:gd name="connsiteX33" fmla="*/ 858675 w 2334255"/>
                  <a:gd name="connsiteY33" fmla="*/ 1897227 h 2317034"/>
                  <a:gd name="connsiteX34" fmla="*/ 819777 w 2334255"/>
                  <a:gd name="connsiteY34" fmla="*/ 1876172 h 2317034"/>
                  <a:gd name="connsiteX35" fmla="*/ 513308 w 2334255"/>
                  <a:gd name="connsiteY35" fmla="*/ 2182641 h 2317034"/>
                  <a:gd name="connsiteX36" fmla="*/ 150020 w 2334255"/>
                  <a:gd name="connsiteY36" fmla="*/ 1819353 h 2317034"/>
                  <a:gd name="connsiteX37" fmla="*/ 454069 w 2334255"/>
                  <a:gd name="connsiteY37" fmla="*/ 1515304 h 2317034"/>
                  <a:gd name="connsiteX38" fmla="*/ 428404 w 2334255"/>
                  <a:gd name="connsiteY38" fmla="*/ 1468152 h 2317034"/>
                  <a:gd name="connsiteX39" fmla="*/ 401216 w 2334255"/>
                  <a:gd name="connsiteY39" fmla="*/ 1394074 h 2317034"/>
                  <a:gd name="connsiteX40" fmla="*/ 398512 w 2334255"/>
                  <a:gd name="connsiteY40" fmla="*/ 1383586 h 2317034"/>
                  <a:gd name="connsiteX41" fmla="*/ 0 w 2334255"/>
                  <a:gd name="connsiteY41" fmla="*/ 1383586 h 2317034"/>
                  <a:gd name="connsiteX42" fmla="*/ 0 w 2334255"/>
                  <a:gd name="connsiteY42" fmla="*/ 927731 h 2317034"/>
                  <a:gd name="connsiteX43" fmla="*/ 397818 w 2334255"/>
                  <a:gd name="connsiteY43" fmla="*/ 927731 h 2317034"/>
                  <a:gd name="connsiteX44" fmla="*/ 401216 w 2334255"/>
                  <a:gd name="connsiteY44" fmla="*/ 914552 h 2317034"/>
                  <a:gd name="connsiteX45" fmla="*/ 428404 w 2334255"/>
                  <a:gd name="connsiteY45" fmla="*/ 840475 h 2317034"/>
                  <a:gd name="connsiteX46" fmla="*/ 451573 w 2334255"/>
                  <a:gd name="connsiteY46" fmla="*/ 797909 h 2317034"/>
                  <a:gd name="connsiteX47" fmla="*/ 150020 w 2334255"/>
                  <a:gd name="connsiteY47" fmla="*/ 496356 h 2317034"/>
                  <a:gd name="connsiteX48" fmla="*/ 513308 w 2334255"/>
                  <a:gd name="connsiteY48" fmla="*/ 133068 h 2317034"/>
                  <a:gd name="connsiteX49" fmla="*/ 815181 w 2334255"/>
                  <a:gd name="connsiteY49" fmla="*/ 434941 h 2317034"/>
                  <a:gd name="connsiteX50" fmla="*/ 858675 w 2334255"/>
                  <a:gd name="connsiteY50" fmla="*/ 411399 h 2317034"/>
                  <a:gd name="connsiteX51" fmla="*/ 932958 w 2334255"/>
                  <a:gd name="connsiteY51" fmla="*/ 384287 h 2317034"/>
                  <a:gd name="connsiteX52" fmla="*/ 940186 w 2334255"/>
                  <a:gd name="connsiteY52" fmla="*/ 382433 h 231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2334255" h="2317034">
                    <a:moveTo>
                      <a:pt x="1173387" y="891273"/>
                    </a:moveTo>
                    <a:cubicBezTo>
                      <a:pt x="1027709" y="891273"/>
                      <a:pt x="909614" y="1009040"/>
                      <a:pt x="909614" y="1154313"/>
                    </a:cubicBezTo>
                    <a:cubicBezTo>
                      <a:pt x="909614" y="1299586"/>
                      <a:pt x="1027709" y="1417353"/>
                      <a:pt x="1173387" y="1417353"/>
                    </a:cubicBezTo>
                    <a:cubicBezTo>
                      <a:pt x="1319065" y="1417353"/>
                      <a:pt x="1437160" y="1299586"/>
                      <a:pt x="1437160" y="1154313"/>
                    </a:cubicBezTo>
                    <a:cubicBezTo>
                      <a:pt x="1437160" y="1009040"/>
                      <a:pt x="1319065" y="891273"/>
                      <a:pt x="1173387" y="891273"/>
                    </a:cubicBezTo>
                    <a:close/>
                    <a:moveTo>
                      <a:pt x="940186" y="0"/>
                    </a:moveTo>
                    <a:lnTo>
                      <a:pt x="1411288" y="0"/>
                    </a:lnTo>
                    <a:lnTo>
                      <a:pt x="1411288" y="383639"/>
                    </a:lnTo>
                    <a:lnTo>
                      <a:pt x="1413816" y="384287"/>
                    </a:lnTo>
                    <a:cubicBezTo>
                      <a:pt x="1439133" y="392139"/>
                      <a:pt x="1463917" y="401199"/>
                      <a:pt x="1488099" y="411399"/>
                    </a:cubicBezTo>
                    <a:lnTo>
                      <a:pt x="1533435" y="435938"/>
                    </a:lnTo>
                    <a:lnTo>
                      <a:pt x="1836305" y="133068"/>
                    </a:lnTo>
                    <a:lnTo>
                      <a:pt x="2199593" y="496356"/>
                    </a:lnTo>
                    <a:lnTo>
                      <a:pt x="1896202" y="799747"/>
                    </a:lnTo>
                    <a:lnTo>
                      <a:pt x="1918370" y="840475"/>
                    </a:lnTo>
                    <a:cubicBezTo>
                      <a:pt x="1928598" y="864590"/>
                      <a:pt x="1937683" y="889305"/>
                      <a:pt x="1945558" y="914552"/>
                    </a:cubicBezTo>
                    <a:lnTo>
                      <a:pt x="1948956" y="927731"/>
                    </a:lnTo>
                    <a:lnTo>
                      <a:pt x="2334255" y="927731"/>
                    </a:lnTo>
                    <a:lnTo>
                      <a:pt x="2334255" y="1383586"/>
                    </a:lnTo>
                    <a:lnTo>
                      <a:pt x="1948262" y="1383586"/>
                    </a:lnTo>
                    <a:lnTo>
                      <a:pt x="1945558" y="1394074"/>
                    </a:lnTo>
                    <a:cubicBezTo>
                      <a:pt x="1937683" y="1419321"/>
                      <a:pt x="1928598" y="1444036"/>
                      <a:pt x="1918370" y="1468152"/>
                    </a:cubicBezTo>
                    <a:lnTo>
                      <a:pt x="1893705" y="1513465"/>
                    </a:lnTo>
                    <a:lnTo>
                      <a:pt x="2199593" y="1819353"/>
                    </a:lnTo>
                    <a:lnTo>
                      <a:pt x="1836305" y="2182641"/>
                    </a:lnTo>
                    <a:lnTo>
                      <a:pt x="1528839" y="1875175"/>
                    </a:lnTo>
                    <a:lnTo>
                      <a:pt x="1488099" y="1897227"/>
                    </a:lnTo>
                    <a:cubicBezTo>
                      <a:pt x="1463917" y="1907427"/>
                      <a:pt x="1439133" y="1916487"/>
                      <a:pt x="1413816" y="1924340"/>
                    </a:cubicBezTo>
                    <a:lnTo>
                      <a:pt x="1411288" y="1924988"/>
                    </a:lnTo>
                    <a:lnTo>
                      <a:pt x="1411288" y="2317034"/>
                    </a:lnTo>
                    <a:lnTo>
                      <a:pt x="940186" y="2317034"/>
                    </a:lnTo>
                    <a:lnTo>
                      <a:pt x="940186" y="1926193"/>
                    </a:lnTo>
                    <a:lnTo>
                      <a:pt x="932958" y="1924340"/>
                    </a:lnTo>
                    <a:cubicBezTo>
                      <a:pt x="907641" y="1916487"/>
                      <a:pt x="882857" y="1907427"/>
                      <a:pt x="858675" y="1897227"/>
                    </a:cubicBezTo>
                    <a:lnTo>
                      <a:pt x="819777" y="1876172"/>
                    </a:lnTo>
                    <a:lnTo>
                      <a:pt x="513308" y="2182641"/>
                    </a:lnTo>
                    <a:lnTo>
                      <a:pt x="150020" y="1819353"/>
                    </a:lnTo>
                    <a:lnTo>
                      <a:pt x="454069" y="1515304"/>
                    </a:lnTo>
                    <a:lnTo>
                      <a:pt x="428404" y="1468152"/>
                    </a:lnTo>
                    <a:cubicBezTo>
                      <a:pt x="418176" y="1444036"/>
                      <a:pt x="409091" y="1419321"/>
                      <a:pt x="401216" y="1394074"/>
                    </a:cubicBezTo>
                    <a:lnTo>
                      <a:pt x="398512" y="1383586"/>
                    </a:lnTo>
                    <a:lnTo>
                      <a:pt x="0" y="1383586"/>
                    </a:lnTo>
                    <a:lnTo>
                      <a:pt x="0" y="927731"/>
                    </a:lnTo>
                    <a:lnTo>
                      <a:pt x="397818" y="927731"/>
                    </a:lnTo>
                    <a:lnTo>
                      <a:pt x="401216" y="914552"/>
                    </a:lnTo>
                    <a:cubicBezTo>
                      <a:pt x="409091" y="889305"/>
                      <a:pt x="418176" y="864590"/>
                      <a:pt x="428404" y="840475"/>
                    </a:cubicBezTo>
                    <a:lnTo>
                      <a:pt x="451573" y="797909"/>
                    </a:lnTo>
                    <a:lnTo>
                      <a:pt x="150020" y="496356"/>
                    </a:lnTo>
                    <a:lnTo>
                      <a:pt x="513308" y="133068"/>
                    </a:lnTo>
                    <a:lnTo>
                      <a:pt x="815181" y="434941"/>
                    </a:lnTo>
                    <a:lnTo>
                      <a:pt x="858675" y="411399"/>
                    </a:lnTo>
                    <a:cubicBezTo>
                      <a:pt x="882857" y="401199"/>
                      <a:pt x="907641" y="392139"/>
                      <a:pt x="932958" y="384287"/>
                    </a:cubicBezTo>
                    <a:lnTo>
                      <a:pt x="940186" y="382433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" name="Rectangle 20"/>
              <p:cNvSpPr/>
              <p:nvPr/>
            </p:nvSpPr>
            <p:spPr>
              <a:xfrm>
                <a:off x="1895856" y="3077426"/>
                <a:ext cx="253942" cy="125142"/>
              </a:xfrm>
              <a:custGeom>
                <a:avLst/>
                <a:gdLst>
                  <a:gd name="connsiteX0" fmla="*/ 0 w 1252728"/>
                  <a:gd name="connsiteY0" fmla="*/ 0 h 2104287"/>
                  <a:gd name="connsiteX1" fmla="*/ 1252728 w 1252728"/>
                  <a:gd name="connsiteY1" fmla="*/ 0 h 2104287"/>
                  <a:gd name="connsiteX2" fmla="*/ 1252728 w 1252728"/>
                  <a:gd name="connsiteY2" fmla="*/ 2104287 h 2104287"/>
                  <a:gd name="connsiteX3" fmla="*/ 0 w 1252728"/>
                  <a:gd name="connsiteY3" fmla="*/ 2104287 h 2104287"/>
                  <a:gd name="connsiteX4" fmla="*/ 0 w 1252728"/>
                  <a:gd name="connsiteY4" fmla="*/ 0 h 2104287"/>
                  <a:gd name="connsiteX0" fmla="*/ 495300 w 1748028"/>
                  <a:gd name="connsiteY0" fmla="*/ 0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495300 w 1748028"/>
                  <a:gd name="connsiteY4" fmla="*/ 0 h 2104287"/>
                  <a:gd name="connsiteX0" fmla="*/ 1104900 w 1748028"/>
                  <a:gd name="connsiteY0" fmla="*/ 433387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1104900 w 1748028"/>
                  <a:gd name="connsiteY4" fmla="*/ 433387 h 2104287"/>
                  <a:gd name="connsiteX0" fmla="*/ 1104900 w 1748028"/>
                  <a:gd name="connsiteY0" fmla="*/ 433387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634353 w 1748028"/>
                  <a:gd name="connsiteY4" fmla="*/ 747713 h 2104287"/>
                  <a:gd name="connsiteX5" fmla="*/ 1104900 w 1748028"/>
                  <a:gd name="connsiteY5" fmla="*/ 433387 h 2104287"/>
                  <a:gd name="connsiteX0" fmla="*/ 1185120 w 1828248"/>
                  <a:gd name="connsiteY0" fmla="*/ 614362 h 2285262"/>
                  <a:gd name="connsiteX1" fmla="*/ 1828248 w 1828248"/>
                  <a:gd name="connsiteY1" fmla="*/ 180975 h 2285262"/>
                  <a:gd name="connsiteX2" fmla="*/ 1828248 w 1828248"/>
                  <a:gd name="connsiteY2" fmla="*/ 2285262 h 2285262"/>
                  <a:gd name="connsiteX3" fmla="*/ 80220 w 1828248"/>
                  <a:gd name="connsiteY3" fmla="*/ 1347049 h 2285262"/>
                  <a:gd name="connsiteX4" fmla="*/ 714573 w 1828248"/>
                  <a:gd name="connsiteY4" fmla="*/ 928688 h 2285262"/>
                  <a:gd name="connsiteX5" fmla="*/ 9723 w 1828248"/>
                  <a:gd name="connsiteY5" fmla="*/ 0 h 2285262"/>
                  <a:gd name="connsiteX6" fmla="*/ 1185120 w 1828248"/>
                  <a:gd name="connsiteY6" fmla="*/ 614362 h 2285262"/>
                  <a:gd name="connsiteX0" fmla="*/ 4850329 w 5493457"/>
                  <a:gd name="connsiteY0" fmla="*/ 433387 h 2104287"/>
                  <a:gd name="connsiteX1" fmla="*/ 5493457 w 5493457"/>
                  <a:gd name="connsiteY1" fmla="*/ 0 h 2104287"/>
                  <a:gd name="connsiteX2" fmla="*/ 5493457 w 5493457"/>
                  <a:gd name="connsiteY2" fmla="*/ 2104287 h 2104287"/>
                  <a:gd name="connsiteX3" fmla="*/ 3745429 w 5493457"/>
                  <a:gd name="connsiteY3" fmla="*/ 1166074 h 2104287"/>
                  <a:gd name="connsiteX4" fmla="*/ 4379782 w 5493457"/>
                  <a:gd name="connsiteY4" fmla="*/ 747713 h 2104287"/>
                  <a:gd name="connsiteX5" fmla="*/ 2092 w 5493457"/>
                  <a:gd name="connsiteY5" fmla="*/ 1396365 h 2104287"/>
                  <a:gd name="connsiteX6" fmla="*/ 4850329 w 5493457"/>
                  <a:gd name="connsiteY6" fmla="*/ 433387 h 2104287"/>
                  <a:gd name="connsiteX0" fmla="*/ 5202289 w 5845417"/>
                  <a:gd name="connsiteY0" fmla="*/ 433387 h 2104287"/>
                  <a:gd name="connsiteX1" fmla="*/ 5845417 w 5845417"/>
                  <a:gd name="connsiteY1" fmla="*/ 0 h 2104287"/>
                  <a:gd name="connsiteX2" fmla="*/ 5845417 w 5845417"/>
                  <a:gd name="connsiteY2" fmla="*/ 2104287 h 2104287"/>
                  <a:gd name="connsiteX3" fmla="*/ 4097389 w 5845417"/>
                  <a:gd name="connsiteY3" fmla="*/ 1166074 h 2104287"/>
                  <a:gd name="connsiteX4" fmla="*/ 4731742 w 5845417"/>
                  <a:gd name="connsiteY4" fmla="*/ 747713 h 2104287"/>
                  <a:gd name="connsiteX5" fmla="*/ 855068 w 5845417"/>
                  <a:gd name="connsiteY5" fmla="*/ 1619250 h 2104287"/>
                  <a:gd name="connsiteX6" fmla="*/ 354052 w 5845417"/>
                  <a:gd name="connsiteY6" fmla="*/ 1396365 h 2104287"/>
                  <a:gd name="connsiteX7" fmla="*/ 5202289 w 5845417"/>
                  <a:gd name="connsiteY7" fmla="*/ 433387 h 2104287"/>
                  <a:gd name="connsiteX0" fmla="*/ 5202289 w 5845417"/>
                  <a:gd name="connsiteY0" fmla="*/ 433387 h 2104287"/>
                  <a:gd name="connsiteX1" fmla="*/ 5845417 w 5845417"/>
                  <a:gd name="connsiteY1" fmla="*/ 0 h 2104287"/>
                  <a:gd name="connsiteX2" fmla="*/ 5845417 w 5845417"/>
                  <a:gd name="connsiteY2" fmla="*/ 2104287 h 2104287"/>
                  <a:gd name="connsiteX3" fmla="*/ 4097389 w 5845417"/>
                  <a:gd name="connsiteY3" fmla="*/ 1166074 h 2104287"/>
                  <a:gd name="connsiteX4" fmla="*/ 4731742 w 5845417"/>
                  <a:gd name="connsiteY4" fmla="*/ 747713 h 2104287"/>
                  <a:gd name="connsiteX5" fmla="*/ 855068 w 5845417"/>
                  <a:gd name="connsiteY5" fmla="*/ 1619250 h 2104287"/>
                  <a:gd name="connsiteX6" fmla="*/ 354052 w 5845417"/>
                  <a:gd name="connsiteY6" fmla="*/ 1396365 h 2104287"/>
                  <a:gd name="connsiteX7" fmla="*/ 5202289 w 5845417"/>
                  <a:gd name="connsiteY7" fmla="*/ 433387 h 2104287"/>
                  <a:gd name="connsiteX0" fmla="*/ 5202289 w 5845417"/>
                  <a:gd name="connsiteY0" fmla="*/ 1017185 h 2688085"/>
                  <a:gd name="connsiteX1" fmla="*/ 5845417 w 5845417"/>
                  <a:gd name="connsiteY1" fmla="*/ 583798 h 2688085"/>
                  <a:gd name="connsiteX2" fmla="*/ 5845417 w 5845417"/>
                  <a:gd name="connsiteY2" fmla="*/ 2688085 h 2688085"/>
                  <a:gd name="connsiteX3" fmla="*/ 4097389 w 5845417"/>
                  <a:gd name="connsiteY3" fmla="*/ 1749872 h 2688085"/>
                  <a:gd name="connsiteX4" fmla="*/ 4731742 w 5845417"/>
                  <a:gd name="connsiteY4" fmla="*/ 1331511 h 2688085"/>
                  <a:gd name="connsiteX5" fmla="*/ 855068 w 5845417"/>
                  <a:gd name="connsiteY5" fmla="*/ 2203048 h 2688085"/>
                  <a:gd name="connsiteX6" fmla="*/ 354052 w 5845417"/>
                  <a:gd name="connsiteY6" fmla="*/ 1980163 h 2688085"/>
                  <a:gd name="connsiteX7" fmla="*/ 5202289 w 5845417"/>
                  <a:gd name="connsiteY7" fmla="*/ 1017185 h 2688085"/>
                  <a:gd name="connsiteX0" fmla="*/ 5202289 w 5845417"/>
                  <a:gd name="connsiteY0" fmla="*/ 1027039 h 2697939"/>
                  <a:gd name="connsiteX1" fmla="*/ 5845417 w 5845417"/>
                  <a:gd name="connsiteY1" fmla="*/ 593652 h 2697939"/>
                  <a:gd name="connsiteX2" fmla="*/ 5845417 w 5845417"/>
                  <a:gd name="connsiteY2" fmla="*/ 2697939 h 2697939"/>
                  <a:gd name="connsiteX3" fmla="*/ 4097389 w 5845417"/>
                  <a:gd name="connsiteY3" fmla="*/ 1759726 h 2697939"/>
                  <a:gd name="connsiteX4" fmla="*/ 4731742 w 5845417"/>
                  <a:gd name="connsiteY4" fmla="*/ 1341365 h 2697939"/>
                  <a:gd name="connsiteX5" fmla="*/ 855068 w 5845417"/>
                  <a:gd name="connsiteY5" fmla="*/ 2212902 h 2697939"/>
                  <a:gd name="connsiteX6" fmla="*/ 354052 w 5845417"/>
                  <a:gd name="connsiteY6" fmla="*/ 1990017 h 2697939"/>
                  <a:gd name="connsiteX7" fmla="*/ 5202289 w 5845417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478156 w 5491365"/>
                  <a:gd name="connsiteY5" fmla="*/ 222052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478156 w 5491365"/>
                  <a:gd name="connsiteY5" fmla="*/ 222052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3149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0617 w 5491365"/>
                  <a:gd name="connsiteY0" fmla="*/ 1024336 h 2702856"/>
                  <a:gd name="connsiteX1" fmla="*/ 5491365 w 5491365"/>
                  <a:gd name="connsiteY1" fmla="*/ 598569 h 2702856"/>
                  <a:gd name="connsiteX2" fmla="*/ 5491365 w 5491365"/>
                  <a:gd name="connsiteY2" fmla="*/ 2702856 h 2702856"/>
                  <a:gd name="connsiteX3" fmla="*/ 3743337 w 5491365"/>
                  <a:gd name="connsiteY3" fmla="*/ 1764643 h 2702856"/>
                  <a:gd name="connsiteX4" fmla="*/ 4377690 w 5491365"/>
                  <a:gd name="connsiteY4" fmla="*/ 1346282 h 2702856"/>
                  <a:gd name="connsiteX5" fmla="*/ 531496 w 5491365"/>
                  <a:gd name="connsiteY5" fmla="*/ 2240679 h 2702856"/>
                  <a:gd name="connsiteX6" fmla="*/ 0 w 5491365"/>
                  <a:gd name="connsiteY6" fmla="*/ 1994934 h 2702856"/>
                  <a:gd name="connsiteX7" fmla="*/ 4840617 w 5491365"/>
                  <a:gd name="connsiteY7" fmla="*/ 1024336 h 2702856"/>
                  <a:gd name="connsiteX0" fmla="*/ 4840617 w 5491365"/>
                  <a:gd name="connsiteY0" fmla="*/ 1027625 h 2706145"/>
                  <a:gd name="connsiteX1" fmla="*/ 5491365 w 5491365"/>
                  <a:gd name="connsiteY1" fmla="*/ 601858 h 2706145"/>
                  <a:gd name="connsiteX2" fmla="*/ 5491365 w 5491365"/>
                  <a:gd name="connsiteY2" fmla="*/ 2706145 h 2706145"/>
                  <a:gd name="connsiteX3" fmla="*/ 3743337 w 5491365"/>
                  <a:gd name="connsiteY3" fmla="*/ 1767932 h 2706145"/>
                  <a:gd name="connsiteX4" fmla="*/ 4377690 w 5491365"/>
                  <a:gd name="connsiteY4" fmla="*/ 1349571 h 2706145"/>
                  <a:gd name="connsiteX5" fmla="*/ 531496 w 5491365"/>
                  <a:gd name="connsiteY5" fmla="*/ 2243968 h 2706145"/>
                  <a:gd name="connsiteX6" fmla="*/ 0 w 5491365"/>
                  <a:gd name="connsiteY6" fmla="*/ 1998223 h 2706145"/>
                  <a:gd name="connsiteX7" fmla="*/ 4840617 w 5491365"/>
                  <a:gd name="connsiteY7" fmla="*/ 1027625 h 2706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91365" h="2706145">
                    <a:moveTo>
                      <a:pt x="4840617" y="1027625"/>
                    </a:moveTo>
                    <a:lnTo>
                      <a:pt x="5491365" y="601858"/>
                    </a:lnTo>
                    <a:lnTo>
                      <a:pt x="5491365" y="2706145"/>
                    </a:lnTo>
                    <a:lnTo>
                      <a:pt x="3743337" y="1767932"/>
                    </a:lnTo>
                    <a:lnTo>
                      <a:pt x="4377690" y="1349571"/>
                    </a:lnTo>
                    <a:cubicBezTo>
                      <a:pt x="2901313" y="-269080"/>
                      <a:pt x="742951" y="909039"/>
                      <a:pt x="531496" y="2243968"/>
                    </a:cubicBezTo>
                    <a:cubicBezTo>
                      <a:pt x="175261" y="2085377"/>
                      <a:pt x="183513" y="2094267"/>
                      <a:pt x="0" y="1998223"/>
                    </a:cubicBezTo>
                    <a:cubicBezTo>
                      <a:pt x="785499" y="-128710"/>
                      <a:pt x="3255018" y="-724022"/>
                      <a:pt x="4840617" y="1027625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" name="Rectangle 20"/>
              <p:cNvSpPr/>
              <p:nvPr/>
            </p:nvSpPr>
            <p:spPr>
              <a:xfrm flipH="1" flipV="1">
                <a:off x="1891158" y="3212504"/>
                <a:ext cx="253942" cy="125142"/>
              </a:xfrm>
              <a:custGeom>
                <a:avLst/>
                <a:gdLst>
                  <a:gd name="connsiteX0" fmla="*/ 0 w 1252728"/>
                  <a:gd name="connsiteY0" fmla="*/ 0 h 2104287"/>
                  <a:gd name="connsiteX1" fmla="*/ 1252728 w 1252728"/>
                  <a:gd name="connsiteY1" fmla="*/ 0 h 2104287"/>
                  <a:gd name="connsiteX2" fmla="*/ 1252728 w 1252728"/>
                  <a:gd name="connsiteY2" fmla="*/ 2104287 h 2104287"/>
                  <a:gd name="connsiteX3" fmla="*/ 0 w 1252728"/>
                  <a:gd name="connsiteY3" fmla="*/ 2104287 h 2104287"/>
                  <a:gd name="connsiteX4" fmla="*/ 0 w 1252728"/>
                  <a:gd name="connsiteY4" fmla="*/ 0 h 2104287"/>
                  <a:gd name="connsiteX0" fmla="*/ 495300 w 1748028"/>
                  <a:gd name="connsiteY0" fmla="*/ 0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495300 w 1748028"/>
                  <a:gd name="connsiteY4" fmla="*/ 0 h 2104287"/>
                  <a:gd name="connsiteX0" fmla="*/ 1104900 w 1748028"/>
                  <a:gd name="connsiteY0" fmla="*/ 433387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1104900 w 1748028"/>
                  <a:gd name="connsiteY4" fmla="*/ 433387 h 2104287"/>
                  <a:gd name="connsiteX0" fmla="*/ 1104900 w 1748028"/>
                  <a:gd name="connsiteY0" fmla="*/ 433387 h 2104287"/>
                  <a:gd name="connsiteX1" fmla="*/ 1748028 w 1748028"/>
                  <a:gd name="connsiteY1" fmla="*/ 0 h 2104287"/>
                  <a:gd name="connsiteX2" fmla="*/ 1748028 w 1748028"/>
                  <a:gd name="connsiteY2" fmla="*/ 2104287 h 2104287"/>
                  <a:gd name="connsiteX3" fmla="*/ 0 w 1748028"/>
                  <a:gd name="connsiteY3" fmla="*/ 1166074 h 2104287"/>
                  <a:gd name="connsiteX4" fmla="*/ 634353 w 1748028"/>
                  <a:gd name="connsiteY4" fmla="*/ 747713 h 2104287"/>
                  <a:gd name="connsiteX5" fmla="*/ 1104900 w 1748028"/>
                  <a:gd name="connsiteY5" fmla="*/ 433387 h 2104287"/>
                  <a:gd name="connsiteX0" fmla="*/ 1185120 w 1828248"/>
                  <a:gd name="connsiteY0" fmla="*/ 614362 h 2285262"/>
                  <a:gd name="connsiteX1" fmla="*/ 1828248 w 1828248"/>
                  <a:gd name="connsiteY1" fmla="*/ 180975 h 2285262"/>
                  <a:gd name="connsiteX2" fmla="*/ 1828248 w 1828248"/>
                  <a:gd name="connsiteY2" fmla="*/ 2285262 h 2285262"/>
                  <a:gd name="connsiteX3" fmla="*/ 80220 w 1828248"/>
                  <a:gd name="connsiteY3" fmla="*/ 1347049 h 2285262"/>
                  <a:gd name="connsiteX4" fmla="*/ 714573 w 1828248"/>
                  <a:gd name="connsiteY4" fmla="*/ 928688 h 2285262"/>
                  <a:gd name="connsiteX5" fmla="*/ 9723 w 1828248"/>
                  <a:gd name="connsiteY5" fmla="*/ 0 h 2285262"/>
                  <a:gd name="connsiteX6" fmla="*/ 1185120 w 1828248"/>
                  <a:gd name="connsiteY6" fmla="*/ 614362 h 2285262"/>
                  <a:gd name="connsiteX0" fmla="*/ 4850329 w 5493457"/>
                  <a:gd name="connsiteY0" fmla="*/ 433387 h 2104287"/>
                  <a:gd name="connsiteX1" fmla="*/ 5493457 w 5493457"/>
                  <a:gd name="connsiteY1" fmla="*/ 0 h 2104287"/>
                  <a:gd name="connsiteX2" fmla="*/ 5493457 w 5493457"/>
                  <a:gd name="connsiteY2" fmla="*/ 2104287 h 2104287"/>
                  <a:gd name="connsiteX3" fmla="*/ 3745429 w 5493457"/>
                  <a:gd name="connsiteY3" fmla="*/ 1166074 h 2104287"/>
                  <a:gd name="connsiteX4" fmla="*/ 4379782 w 5493457"/>
                  <a:gd name="connsiteY4" fmla="*/ 747713 h 2104287"/>
                  <a:gd name="connsiteX5" fmla="*/ 2092 w 5493457"/>
                  <a:gd name="connsiteY5" fmla="*/ 1396365 h 2104287"/>
                  <a:gd name="connsiteX6" fmla="*/ 4850329 w 5493457"/>
                  <a:gd name="connsiteY6" fmla="*/ 433387 h 2104287"/>
                  <a:gd name="connsiteX0" fmla="*/ 5202289 w 5845417"/>
                  <a:gd name="connsiteY0" fmla="*/ 433387 h 2104287"/>
                  <a:gd name="connsiteX1" fmla="*/ 5845417 w 5845417"/>
                  <a:gd name="connsiteY1" fmla="*/ 0 h 2104287"/>
                  <a:gd name="connsiteX2" fmla="*/ 5845417 w 5845417"/>
                  <a:gd name="connsiteY2" fmla="*/ 2104287 h 2104287"/>
                  <a:gd name="connsiteX3" fmla="*/ 4097389 w 5845417"/>
                  <a:gd name="connsiteY3" fmla="*/ 1166074 h 2104287"/>
                  <a:gd name="connsiteX4" fmla="*/ 4731742 w 5845417"/>
                  <a:gd name="connsiteY4" fmla="*/ 747713 h 2104287"/>
                  <a:gd name="connsiteX5" fmla="*/ 855068 w 5845417"/>
                  <a:gd name="connsiteY5" fmla="*/ 1619250 h 2104287"/>
                  <a:gd name="connsiteX6" fmla="*/ 354052 w 5845417"/>
                  <a:gd name="connsiteY6" fmla="*/ 1396365 h 2104287"/>
                  <a:gd name="connsiteX7" fmla="*/ 5202289 w 5845417"/>
                  <a:gd name="connsiteY7" fmla="*/ 433387 h 2104287"/>
                  <a:gd name="connsiteX0" fmla="*/ 5202289 w 5845417"/>
                  <a:gd name="connsiteY0" fmla="*/ 433387 h 2104287"/>
                  <a:gd name="connsiteX1" fmla="*/ 5845417 w 5845417"/>
                  <a:gd name="connsiteY1" fmla="*/ 0 h 2104287"/>
                  <a:gd name="connsiteX2" fmla="*/ 5845417 w 5845417"/>
                  <a:gd name="connsiteY2" fmla="*/ 2104287 h 2104287"/>
                  <a:gd name="connsiteX3" fmla="*/ 4097389 w 5845417"/>
                  <a:gd name="connsiteY3" fmla="*/ 1166074 h 2104287"/>
                  <a:gd name="connsiteX4" fmla="*/ 4731742 w 5845417"/>
                  <a:gd name="connsiteY4" fmla="*/ 747713 h 2104287"/>
                  <a:gd name="connsiteX5" fmla="*/ 855068 w 5845417"/>
                  <a:gd name="connsiteY5" fmla="*/ 1619250 h 2104287"/>
                  <a:gd name="connsiteX6" fmla="*/ 354052 w 5845417"/>
                  <a:gd name="connsiteY6" fmla="*/ 1396365 h 2104287"/>
                  <a:gd name="connsiteX7" fmla="*/ 5202289 w 5845417"/>
                  <a:gd name="connsiteY7" fmla="*/ 433387 h 2104287"/>
                  <a:gd name="connsiteX0" fmla="*/ 5202289 w 5845417"/>
                  <a:gd name="connsiteY0" fmla="*/ 1017185 h 2688085"/>
                  <a:gd name="connsiteX1" fmla="*/ 5845417 w 5845417"/>
                  <a:gd name="connsiteY1" fmla="*/ 583798 h 2688085"/>
                  <a:gd name="connsiteX2" fmla="*/ 5845417 w 5845417"/>
                  <a:gd name="connsiteY2" fmla="*/ 2688085 h 2688085"/>
                  <a:gd name="connsiteX3" fmla="*/ 4097389 w 5845417"/>
                  <a:gd name="connsiteY3" fmla="*/ 1749872 h 2688085"/>
                  <a:gd name="connsiteX4" fmla="*/ 4731742 w 5845417"/>
                  <a:gd name="connsiteY4" fmla="*/ 1331511 h 2688085"/>
                  <a:gd name="connsiteX5" fmla="*/ 855068 w 5845417"/>
                  <a:gd name="connsiteY5" fmla="*/ 2203048 h 2688085"/>
                  <a:gd name="connsiteX6" fmla="*/ 354052 w 5845417"/>
                  <a:gd name="connsiteY6" fmla="*/ 1980163 h 2688085"/>
                  <a:gd name="connsiteX7" fmla="*/ 5202289 w 5845417"/>
                  <a:gd name="connsiteY7" fmla="*/ 1017185 h 2688085"/>
                  <a:gd name="connsiteX0" fmla="*/ 5202289 w 5845417"/>
                  <a:gd name="connsiteY0" fmla="*/ 1027039 h 2697939"/>
                  <a:gd name="connsiteX1" fmla="*/ 5845417 w 5845417"/>
                  <a:gd name="connsiteY1" fmla="*/ 593652 h 2697939"/>
                  <a:gd name="connsiteX2" fmla="*/ 5845417 w 5845417"/>
                  <a:gd name="connsiteY2" fmla="*/ 2697939 h 2697939"/>
                  <a:gd name="connsiteX3" fmla="*/ 4097389 w 5845417"/>
                  <a:gd name="connsiteY3" fmla="*/ 1759726 h 2697939"/>
                  <a:gd name="connsiteX4" fmla="*/ 4731742 w 5845417"/>
                  <a:gd name="connsiteY4" fmla="*/ 1341365 h 2697939"/>
                  <a:gd name="connsiteX5" fmla="*/ 855068 w 5845417"/>
                  <a:gd name="connsiteY5" fmla="*/ 2212902 h 2697939"/>
                  <a:gd name="connsiteX6" fmla="*/ 354052 w 5845417"/>
                  <a:gd name="connsiteY6" fmla="*/ 1990017 h 2697939"/>
                  <a:gd name="connsiteX7" fmla="*/ 5202289 w 5845417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1290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478156 w 5491365"/>
                  <a:gd name="connsiteY5" fmla="*/ 222052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478156 w 5491365"/>
                  <a:gd name="connsiteY5" fmla="*/ 222052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0101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2387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8237 w 5491365"/>
                  <a:gd name="connsiteY0" fmla="*/ 1027039 h 2697939"/>
                  <a:gd name="connsiteX1" fmla="*/ 5491365 w 5491365"/>
                  <a:gd name="connsiteY1" fmla="*/ 593652 h 2697939"/>
                  <a:gd name="connsiteX2" fmla="*/ 5491365 w 5491365"/>
                  <a:gd name="connsiteY2" fmla="*/ 2697939 h 2697939"/>
                  <a:gd name="connsiteX3" fmla="*/ 3743337 w 5491365"/>
                  <a:gd name="connsiteY3" fmla="*/ 1759726 h 2697939"/>
                  <a:gd name="connsiteX4" fmla="*/ 4377690 w 5491365"/>
                  <a:gd name="connsiteY4" fmla="*/ 1341365 h 2697939"/>
                  <a:gd name="connsiteX5" fmla="*/ 531496 w 5491365"/>
                  <a:gd name="connsiteY5" fmla="*/ 2235762 h 2697939"/>
                  <a:gd name="connsiteX6" fmla="*/ 0 w 5491365"/>
                  <a:gd name="connsiteY6" fmla="*/ 1990017 h 2697939"/>
                  <a:gd name="connsiteX7" fmla="*/ 4848237 w 5491365"/>
                  <a:gd name="connsiteY7" fmla="*/ 1027039 h 2697939"/>
                  <a:gd name="connsiteX0" fmla="*/ 4840617 w 5491365"/>
                  <a:gd name="connsiteY0" fmla="*/ 1024336 h 2702856"/>
                  <a:gd name="connsiteX1" fmla="*/ 5491365 w 5491365"/>
                  <a:gd name="connsiteY1" fmla="*/ 598569 h 2702856"/>
                  <a:gd name="connsiteX2" fmla="*/ 5491365 w 5491365"/>
                  <a:gd name="connsiteY2" fmla="*/ 2702856 h 2702856"/>
                  <a:gd name="connsiteX3" fmla="*/ 3743337 w 5491365"/>
                  <a:gd name="connsiteY3" fmla="*/ 1764643 h 2702856"/>
                  <a:gd name="connsiteX4" fmla="*/ 4377690 w 5491365"/>
                  <a:gd name="connsiteY4" fmla="*/ 1346282 h 2702856"/>
                  <a:gd name="connsiteX5" fmla="*/ 531496 w 5491365"/>
                  <a:gd name="connsiteY5" fmla="*/ 2240679 h 2702856"/>
                  <a:gd name="connsiteX6" fmla="*/ 0 w 5491365"/>
                  <a:gd name="connsiteY6" fmla="*/ 1994934 h 2702856"/>
                  <a:gd name="connsiteX7" fmla="*/ 4840617 w 5491365"/>
                  <a:gd name="connsiteY7" fmla="*/ 1024336 h 2702856"/>
                  <a:gd name="connsiteX0" fmla="*/ 4840617 w 5491365"/>
                  <a:gd name="connsiteY0" fmla="*/ 1027625 h 2706145"/>
                  <a:gd name="connsiteX1" fmla="*/ 5491365 w 5491365"/>
                  <a:gd name="connsiteY1" fmla="*/ 601858 h 2706145"/>
                  <a:gd name="connsiteX2" fmla="*/ 5491365 w 5491365"/>
                  <a:gd name="connsiteY2" fmla="*/ 2706145 h 2706145"/>
                  <a:gd name="connsiteX3" fmla="*/ 3743337 w 5491365"/>
                  <a:gd name="connsiteY3" fmla="*/ 1767932 h 2706145"/>
                  <a:gd name="connsiteX4" fmla="*/ 4377690 w 5491365"/>
                  <a:gd name="connsiteY4" fmla="*/ 1349571 h 2706145"/>
                  <a:gd name="connsiteX5" fmla="*/ 531496 w 5491365"/>
                  <a:gd name="connsiteY5" fmla="*/ 2243968 h 2706145"/>
                  <a:gd name="connsiteX6" fmla="*/ 0 w 5491365"/>
                  <a:gd name="connsiteY6" fmla="*/ 1998223 h 2706145"/>
                  <a:gd name="connsiteX7" fmla="*/ 4840617 w 5491365"/>
                  <a:gd name="connsiteY7" fmla="*/ 1027625 h 2706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91365" h="2706145">
                    <a:moveTo>
                      <a:pt x="4840617" y="1027625"/>
                    </a:moveTo>
                    <a:lnTo>
                      <a:pt x="5491365" y="601858"/>
                    </a:lnTo>
                    <a:lnTo>
                      <a:pt x="5491365" y="2706145"/>
                    </a:lnTo>
                    <a:lnTo>
                      <a:pt x="3743337" y="1767932"/>
                    </a:lnTo>
                    <a:lnTo>
                      <a:pt x="4377690" y="1349571"/>
                    </a:lnTo>
                    <a:cubicBezTo>
                      <a:pt x="2901313" y="-269080"/>
                      <a:pt x="742951" y="909039"/>
                      <a:pt x="531496" y="2243968"/>
                    </a:cubicBezTo>
                    <a:cubicBezTo>
                      <a:pt x="175261" y="2085377"/>
                      <a:pt x="183513" y="2094267"/>
                      <a:pt x="0" y="1998223"/>
                    </a:cubicBezTo>
                    <a:cubicBezTo>
                      <a:pt x="785499" y="-128710"/>
                      <a:pt x="3255018" y="-724022"/>
                      <a:pt x="4840617" y="1027625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>
              <a:off x="4554845" y="3300187"/>
              <a:ext cx="914400" cy="914400"/>
              <a:chOff x="6144199" y="4724923"/>
              <a:chExt cx="590937" cy="593130"/>
            </a:xfrm>
          </p:grpSpPr>
          <p:sp>
            <p:nvSpPr>
              <p:cNvPr id="169" name="Freeform 168"/>
              <p:cNvSpPr/>
              <p:nvPr/>
            </p:nvSpPr>
            <p:spPr>
              <a:xfrm>
                <a:off x="6144199" y="4724923"/>
                <a:ext cx="590937" cy="593130"/>
              </a:xfrm>
              <a:custGeom>
                <a:avLst/>
                <a:gdLst>
                  <a:gd name="connsiteX0" fmla="*/ 650734 w 1328932"/>
                  <a:gd name="connsiteY0" fmla="*/ 0 h 1333866"/>
                  <a:gd name="connsiteX1" fmla="*/ 673812 w 1328932"/>
                  <a:gd name="connsiteY1" fmla="*/ 79029 h 1333866"/>
                  <a:gd name="connsiteX2" fmla="*/ 737265 w 1328932"/>
                  <a:gd name="connsiteY2" fmla="*/ 83600 h 1333866"/>
                  <a:gd name="connsiteX3" fmla="*/ 773421 w 1328932"/>
                  <a:gd name="connsiteY3" fmla="*/ 6872 h 1333866"/>
                  <a:gd name="connsiteX4" fmla="*/ 827889 w 1328932"/>
                  <a:gd name="connsiteY4" fmla="*/ 18371 h 1333866"/>
                  <a:gd name="connsiteX5" fmla="*/ 829920 w 1328932"/>
                  <a:gd name="connsiteY5" fmla="*/ 102056 h 1333866"/>
                  <a:gd name="connsiteX6" fmla="*/ 831348 w 1328932"/>
                  <a:gd name="connsiteY6" fmla="*/ 102369 h 1333866"/>
                  <a:gd name="connsiteX7" fmla="*/ 889394 w 1328932"/>
                  <a:gd name="connsiteY7" fmla="*/ 124065 h 1333866"/>
                  <a:gd name="connsiteX8" fmla="*/ 946313 w 1328932"/>
                  <a:gd name="connsiteY8" fmla="*/ 59656 h 1333866"/>
                  <a:gd name="connsiteX9" fmla="*/ 995394 w 1328932"/>
                  <a:gd name="connsiteY9" fmla="*/ 85925 h 1333866"/>
                  <a:gd name="connsiteX10" fmla="*/ 973958 w 1328932"/>
                  <a:gd name="connsiteY10" fmla="*/ 166793 h 1333866"/>
                  <a:gd name="connsiteX11" fmla="*/ 979500 w 1328932"/>
                  <a:gd name="connsiteY11" fmla="*/ 169802 h 1333866"/>
                  <a:gd name="connsiteX12" fmla="*/ 1029879 w 1328932"/>
                  <a:gd name="connsiteY12" fmla="*/ 205872 h 1333866"/>
                  <a:gd name="connsiteX13" fmla="*/ 1101640 w 1328932"/>
                  <a:gd name="connsiteY13" fmla="*/ 160568 h 1333866"/>
                  <a:gd name="connsiteX14" fmla="*/ 1141398 w 1328932"/>
                  <a:gd name="connsiteY14" fmla="*/ 199536 h 1333866"/>
                  <a:gd name="connsiteX15" fmla="*/ 1098344 w 1328932"/>
                  <a:gd name="connsiteY15" fmla="*/ 270865 h 1333866"/>
                  <a:gd name="connsiteX16" fmla="*/ 1122993 w 1328932"/>
                  <a:gd name="connsiteY16" fmla="*/ 298349 h 1333866"/>
                  <a:gd name="connsiteX17" fmla="*/ 1143724 w 1328932"/>
                  <a:gd name="connsiteY17" fmla="*/ 328433 h 1333866"/>
                  <a:gd name="connsiteX18" fmla="*/ 1223600 w 1328932"/>
                  <a:gd name="connsiteY18" fmla="*/ 305308 h 1333866"/>
                  <a:gd name="connsiteX19" fmla="*/ 1250976 w 1328932"/>
                  <a:gd name="connsiteY19" fmla="*/ 353781 h 1333866"/>
                  <a:gd name="connsiteX20" fmla="*/ 1191329 w 1328932"/>
                  <a:gd name="connsiteY20" fmla="*/ 408950 h 1333866"/>
                  <a:gd name="connsiteX21" fmla="*/ 1210078 w 1328932"/>
                  <a:gd name="connsiteY21" fmla="*/ 447173 h 1333866"/>
                  <a:gd name="connsiteX22" fmla="*/ 1215570 w 1328932"/>
                  <a:gd name="connsiteY22" fmla="*/ 462927 h 1333866"/>
                  <a:gd name="connsiteX23" fmla="*/ 1297622 w 1328932"/>
                  <a:gd name="connsiteY23" fmla="*/ 459842 h 1333866"/>
                  <a:gd name="connsiteX24" fmla="*/ 1312464 w 1328932"/>
                  <a:gd name="connsiteY24" fmla="*/ 513497 h 1333866"/>
                  <a:gd name="connsiteX25" fmla="*/ 1241172 w 1328932"/>
                  <a:gd name="connsiteY25" fmla="*/ 552647 h 1333866"/>
                  <a:gd name="connsiteX26" fmla="*/ 1249127 w 1328932"/>
                  <a:gd name="connsiteY26" fmla="*/ 605882 h 1333866"/>
                  <a:gd name="connsiteX27" fmla="*/ 1250047 w 1328932"/>
                  <a:gd name="connsiteY27" fmla="*/ 624091 h 1333866"/>
                  <a:gd name="connsiteX28" fmla="*/ 1328932 w 1328932"/>
                  <a:gd name="connsiteY28" fmla="*/ 642753 h 1333866"/>
                  <a:gd name="connsiteX29" fmla="*/ 1328932 w 1328932"/>
                  <a:gd name="connsiteY29" fmla="*/ 698423 h 1333866"/>
                  <a:gd name="connsiteX30" fmla="*/ 1249387 w 1328932"/>
                  <a:gd name="connsiteY30" fmla="*/ 717241 h 1333866"/>
                  <a:gd name="connsiteX31" fmla="*/ 1248684 w 1328932"/>
                  <a:gd name="connsiteY31" fmla="*/ 730252 h 1333866"/>
                  <a:gd name="connsiteX32" fmla="*/ 1241256 w 1328932"/>
                  <a:gd name="connsiteY32" fmla="*/ 775655 h 1333866"/>
                  <a:gd name="connsiteX33" fmla="*/ 1313610 w 1328932"/>
                  <a:gd name="connsiteY33" fmla="*/ 816722 h 1333866"/>
                  <a:gd name="connsiteX34" fmla="*/ 1298015 w 1328932"/>
                  <a:gd name="connsiteY34" fmla="*/ 870162 h 1333866"/>
                  <a:gd name="connsiteX35" fmla="*/ 1216626 w 1328932"/>
                  <a:gd name="connsiteY35" fmla="*/ 865957 h 1333866"/>
                  <a:gd name="connsiteX36" fmla="*/ 1199435 w 1328932"/>
                  <a:gd name="connsiteY36" fmla="*/ 909582 h 1333866"/>
                  <a:gd name="connsiteX37" fmla="*/ 1190578 w 1328932"/>
                  <a:gd name="connsiteY37" fmla="*/ 927031 h 1333866"/>
                  <a:gd name="connsiteX38" fmla="*/ 1249948 w 1328932"/>
                  <a:gd name="connsiteY38" fmla="*/ 987184 h 1333866"/>
                  <a:gd name="connsiteX39" fmla="*/ 1220394 w 1328932"/>
                  <a:gd name="connsiteY39" fmla="*/ 1034361 h 1333866"/>
                  <a:gd name="connsiteX40" fmla="*/ 1142032 w 1328932"/>
                  <a:gd name="connsiteY40" fmla="*/ 1007753 h 1333866"/>
                  <a:gd name="connsiteX41" fmla="*/ 1123131 w 1328932"/>
                  <a:gd name="connsiteY41" fmla="*/ 1033400 h 1333866"/>
                  <a:gd name="connsiteX42" fmla="*/ 1101486 w 1328932"/>
                  <a:gd name="connsiteY42" fmla="*/ 1057553 h 1333866"/>
                  <a:gd name="connsiteX43" fmla="*/ 1142950 w 1328932"/>
                  <a:gd name="connsiteY43" fmla="*/ 1129630 h 1333866"/>
                  <a:gd name="connsiteX44" fmla="*/ 1102383 w 1328932"/>
                  <a:gd name="connsiteY44" fmla="*/ 1167754 h 1333866"/>
                  <a:gd name="connsiteX45" fmla="*/ 1034133 w 1328932"/>
                  <a:gd name="connsiteY45" fmla="*/ 1122634 h 1333866"/>
                  <a:gd name="connsiteX46" fmla="*/ 1032173 w 1328932"/>
                  <a:gd name="connsiteY46" fmla="*/ 1124392 h 1333866"/>
                  <a:gd name="connsiteX47" fmla="*/ 979289 w 1328932"/>
                  <a:gd name="connsiteY47" fmla="*/ 1160837 h 1333866"/>
                  <a:gd name="connsiteX48" fmla="*/ 1000685 w 1328932"/>
                  <a:gd name="connsiteY48" fmla="*/ 1238240 h 1333866"/>
                  <a:gd name="connsiteX49" fmla="*/ 951883 w 1328932"/>
                  <a:gd name="connsiteY49" fmla="*/ 1265027 h 1333866"/>
                  <a:gd name="connsiteX50" fmla="*/ 897347 w 1328932"/>
                  <a:gd name="connsiteY50" fmla="*/ 1204611 h 1333866"/>
                  <a:gd name="connsiteX51" fmla="*/ 883350 w 1328932"/>
                  <a:gd name="connsiteY51" fmla="*/ 1211476 h 1333866"/>
                  <a:gd name="connsiteX52" fmla="*/ 839354 w 1328932"/>
                  <a:gd name="connsiteY52" fmla="*/ 1226815 h 1333866"/>
                  <a:gd name="connsiteX53" fmla="*/ 836102 w 1328932"/>
                  <a:gd name="connsiteY53" fmla="*/ 1310758 h 1333866"/>
                  <a:gd name="connsiteX54" fmla="*/ 781473 w 1328932"/>
                  <a:gd name="connsiteY54" fmla="*/ 1321469 h 1333866"/>
                  <a:gd name="connsiteX55" fmla="*/ 747723 w 1328932"/>
                  <a:gd name="connsiteY55" fmla="*/ 1247077 h 1333866"/>
                  <a:gd name="connsiteX56" fmla="*/ 724640 w 1328932"/>
                  <a:gd name="connsiteY56" fmla="*/ 1250526 h 1333866"/>
                  <a:gd name="connsiteX57" fmla="*/ 680478 w 1328932"/>
                  <a:gd name="connsiteY57" fmla="*/ 1252756 h 1333866"/>
                  <a:gd name="connsiteX58" fmla="*/ 661856 w 1328932"/>
                  <a:gd name="connsiteY58" fmla="*/ 1333866 h 1333866"/>
                  <a:gd name="connsiteX59" fmla="*/ 596350 w 1328932"/>
                  <a:gd name="connsiteY59" fmla="*/ 1330734 h 1333866"/>
                  <a:gd name="connsiteX60" fmla="*/ 585472 w 1328932"/>
                  <a:gd name="connsiteY60" fmla="*/ 1247624 h 1333866"/>
                  <a:gd name="connsiteX61" fmla="*/ 546140 w 1328932"/>
                  <a:gd name="connsiteY61" fmla="*/ 1241622 h 1333866"/>
                  <a:gd name="connsiteX62" fmla="*/ 517647 w 1328932"/>
                  <a:gd name="connsiteY62" fmla="*/ 1234296 h 1333866"/>
                  <a:gd name="connsiteX63" fmla="*/ 473128 w 1328932"/>
                  <a:gd name="connsiteY63" fmla="*/ 1305805 h 1333866"/>
                  <a:gd name="connsiteX64" fmla="*/ 420365 w 1328932"/>
                  <a:gd name="connsiteY64" fmla="*/ 1288054 h 1333866"/>
                  <a:gd name="connsiteX65" fmla="*/ 428168 w 1328932"/>
                  <a:gd name="connsiteY65" fmla="*/ 1203686 h 1333866"/>
                  <a:gd name="connsiteX66" fmla="*/ 384478 w 1328932"/>
                  <a:gd name="connsiteY66" fmla="*/ 1182639 h 1333866"/>
                  <a:gd name="connsiteX67" fmla="*/ 369786 w 1328932"/>
                  <a:gd name="connsiteY67" fmla="*/ 1173432 h 1333866"/>
                  <a:gd name="connsiteX68" fmla="*/ 307149 w 1328932"/>
                  <a:gd name="connsiteY68" fmla="*/ 1230379 h 1333866"/>
                  <a:gd name="connsiteX69" fmla="*/ 261223 w 1328932"/>
                  <a:gd name="connsiteY69" fmla="*/ 1198917 h 1333866"/>
                  <a:gd name="connsiteX70" fmla="*/ 292070 w 1328932"/>
                  <a:gd name="connsiteY70" fmla="*/ 1118989 h 1333866"/>
                  <a:gd name="connsiteX71" fmla="*/ 266224 w 1328932"/>
                  <a:gd name="connsiteY71" fmla="*/ 1097936 h 1333866"/>
                  <a:gd name="connsiteX72" fmla="*/ 244458 w 1328932"/>
                  <a:gd name="connsiteY72" fmla="*/ 1075225 h 1333866"/>
                  <a:gd name="connsiteX73" fmla="*/ 170858 w 1328932"/>
                  <a:gd name="connsiteY73" fmla="*/ 1111425 h 1333866"/>
                  <a:gd name="connsiteX74" fmla="*/ 135448 w 1328932"/>
                  <a:gd name="connsiteY74" fmla="*/ 1068469 h 1333866"/>
                  <a:gd name="connsiteX75" fmla="*/ 184688 w 1328932"/>
                  <a:gd name="connsiteY75" fmla="*/ 1003573 h 1333866"/>
                  <a:gd name="connsiteX76" fmla="*/ 172420 w 1328932"/>
                  <a:gd name="connsiteY76" fmla="*/ 987127 h 1333866"/>
                  <a:gd name="connsiteX77" fmla="*/ 147185 w 1328932"/>
                  <a:gd name="connsiteY77" fmla="*/ 943990 h 1333866"/>
                  <a:gd name="connsiteX78" fmla="*/ 62973 w 1328932"/>
                  <a:gd name="connsiteY78" fmla="*/ 954755 h 1333866"/>
                  <a:gd name="connsiteX79" fmla="*/ 43391 w 1328932"/>
                  <a:gd name="connsiteY79" fmla="*/ 902643 h 1333866"/>
                  <a:gd name="connsiteX80" fmla="*/ 109846 w 1328932"/>
                  <a:gd name="connsiteY80" fmla="*/ 857979 h 1333866"/>
                  <a:gd name="connsiteX81" fmla="*/ 99254 w 1328932"/>
                  <a:gd name="connsiteY81" fmla="*/ 826823 h 1333866"/>
                  <a:gd name="connsiteX82" fmla="*/ 91285 w 1328932"/>
                  <a:gd name="connsiteY82" fmla="*/ 789027 h 1333866"/>
                  <a:gd name="connsiteX83" fmla="*/ 6677 w 1328932"/>
                  <a:gd name="connsiteY83" fmla="*/ 779505 h 1333866"/>
                  <a:gd name="connsiteX84" fmla="*/ 0 w 1328932"/>
                  <a:gd name="connsiteY84" fmla="*/ 724237 h 1333866"/>
                  <a:gd name="connsiteX85" fmla="*/ 78990 w 1328932"/>
                  <a:gd name="connsiteY85" fmla="*/ 695176 h 1333866"/>
                  <a:gd name="connsiteX86" fmla="*/ 76963 w 1328932"/>
                  <a:gd name="connsiteY86" fmla="*/ 665961 h 1333866"/>
                  <a:gd name="connsiteX87" fmla="*/ 79576 w 1328932"/>
                  <a:gd name="connsiteY87" fmla="*/ 627118 h 1333866"/>
                  <a:gd name="connsiteX88" fmla="*/ 2614 w 1328932"/>
                  <a:gd name="connsiteY88" fmla="*/ 599172 h 1333866"/>
                  <a:gd name="connsiteX89" fmla="*/ 9058 w 1328932"/>
                  <a:gd name="connsiteY89" fmla="*/ 543876 h 1333866"/>
                  <a:gd name="connsiteX90" fmla="*/ 92983 w 1328932"/>
                  <a:gd name="connsiteY90" fmla="*/ 534071 h 1333866"/>
                  <a:gd name="connsiteX91" fmla="*/ 97943 w 1328932"/>
                  <a:gd name="connsiteY91" fmla="*/ 509790 h 1333866"/>
                  <a:gd name="connsiteX92" fmla="*/ 113985 w 1328932"/>
                  <a:gd name="connsiteY92" fmla="*/ 463592 h 1333866"/>
                  <a:gd name="connsiteX93" fmla="*/ 48447 w 1328932"/>
                  <a:gd name="connsiteY93" fmla="*/ 415605 h 1333866"/>
                  <a:gd name="connsiteX94" fmla="*/ 70110 w 1328932"/>
                  <a:gd name="connsiteY94" fmla="*/ 364324 h 1333866"/>
                  <a:gd name="connsiteX95" fmla="*/ 152721 w 1328932"/>
                  <a:gd name="connsiteY95" fmla="*/ 378283 h 1333866"/>
                  <a:gd name="connsiteX96" fmla="*/ 157150 w 1328932"/>
                  <a:gd name="connsiteY96" fmla="*/ 369453 h 1333866"/>
                  <a:gd name="connsiteX97" fmla="*/ 186297 w 1328932"/>
                  <a:gd name="connsiteY97" fmla="*/ 325075 h 1333866"/>
                  <a:gd name="connsiteX98" fmla="*/ 136161 w 1328932"/>
                  <a:gd name="connsiteY98" fmla="*/ 260212 h 1333866"/>
                  <a:gd name="connsiteX99" fmla="*/ 171186 w 1328932"/>
                  <a:gd name="connsiteY99" fmla="*/ 216941 h 1333866"/>
                  <a:gd name="connsiteX100" fmla="*/ 247151 w 1328932"/>
                  <a:gd name="connsiteY100" fmla="*/ 253464 h 1333866"/>
                  <a:gd name="connsiteX101" fmla="*/ 270780 w 1328932"/>
                  <a:gd name="connsiteY101" fmla="*/ 229826 h 1333866"/>
                  <a:gd name="connsiteX102" fmla="*/ 297792 w 1328932"/>
                  <a:gd name="connsiteY102" fmla="*/ 208570 h 1333866"/>
                  <a:gd name="connsiteX103" fmla="*/ 270314 w 1328932"/>
                  <a:gd name="connsiteY103" fmla="*/ 128437 h 1333866"/>
                  <a:gd name="connsiteX104" fmla="*/ 317402 w 1328932"/>
                  <a:gd name="connsiteY104" fmla="*/ 98741 h 1333866"/>
                  <a:gd name="connsiteX105" fmla="*/ 375534 w 1328932"/>
                  <a:gd name="connsiteY105" fmla="*/ 155773 h 1333866"/>
                  <a:gd name="connsiteX106" fmla="*/ 403413 w 1328932"/>
                  <a:gd name="connsiteY106" fmla="*/ 139438 h 1333866"/>
                  <a:gd name="connsiteX107" fmla="*/ 430496 w 1328932"/>
                  <a:gd name="connsiteY107" fmla="*/ 127395 h 1333866"/>
                  <a:gd name="connsiteX108" fmla="*/ 422175 w 1328932"/>
                  <a:gd name="connsiteY108" fmla="*/ 43886 h 1333866"/>
                  <a:gd name="connsiteX109" fmla="*/ 474812 w 1328932"/>
                  <a:gd name="connsiteY109" fmla="*/ 25761 h 1333866"/>
                  <a:gd name="connsiteX110" fmla="*/ 519802 w 1328932"/>
                  <a:gd name="connsiteY110" fmla="*/ 96899 h 1333866"/>
                  <a:gd name="connsiteX111" fmla="*/ 546140 w 1328932"/>
                  <a:gd name="connsiteY111" fmla="*/ 90300 h 1333866"/>
                  <a:gd name="connsiteX112" fmla="*/ 580134 w 1328932"/>
                  <a:gd name="connsiteY112" fmla="*/ 85112 h 1333866"/>
                  <a:gd name="connsiteX113" fmla="*/ 595139 w 1328932"/>
                  <a:gd name="connsiteY113" fmla="*/ 2884 h 1333866"/>
                  <a:gd name="connsiteX114" fmla="*/ 650734 w 1328932"/>
                  <a:gd name="connsiteY114" fmla="*/ 0 h 1333866"/>
                  <a:gd name="connsiteX115" fmla="*/ 664466 w 1328932"/>
                  <a:gd name="connsiteY115" fmla="*/ 190154 h 1333866"/>
                  <a:gd name="connsiteX116" fmla="*/ 187687 w 1328932"/>
                  <a:gd name="connsiteY116" fmla="*/ 666933 h 1333866"/>
                  <a:gd name="connsiteX117" fmla="*/ 664466 w 1328932"/>
                  <a:gd name="connsiteY117" fmla="*/ 1143712 h 1333866"/>
                  <a:gd name="connsiteX118" fmla="*/ 1141245 w 1328932"/>
                  <a:gd name="connsiteY118" fmla="*/ 666933 h 1333866"/>
                  <a:gd name="connsiteX119" fmla="*/ 664466 w 1328932"/>
                  <a:gd name="connsiteY119" fmla="*/ 190154 h 1333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328932" h="1333866">
                    <a:moveTo>
                      <a:pt x="650734" y="0"/>
                    </a:moveTo>
                    <a:lnTo>
                      <a:pt x="673812" y="79029"/>
                    </a:lnTo>
                    <a:lnTo>
                      <a:pt x="737265" y="83600"/>
                    </a:lnTo>
                    <a:lnTo>
                      <a:pt x="773421" y="6872"/>
                    </a:lnTo>
                    <a:lnTo>
                      <a:pt x="827889" y="18371"/>
                    </a:lnTo>
                    <a:lnTo>
                      <a:pt x="829920" y="102056"/>
                    </a:lnTo>
                    <a:lnTo>
                      <a:pt x="831348" y="102369"/>
                    </a:lnTo>
                    <a:lnTo>
                      <a:pt x="889394" y="124065"/>
                    </a:lnTo>
                    <a:lnTo>
                      <a:pt x="946313" y="59656"/>
                    </a:lnTo>
                    <a:lnTo>
                      <a:pt x="995394" y="85925"/>
                    </a:lnTo>
                    <a:lnTo>
                      <a:pt x="973958" y="166793"/>
                    </a:lnTo>
                    <a:lnTo>
                      <a:pt x="979500" y="169802"/>
                    </a:lnTo>
                    <a:lnTo>
                      <a:pt x="1029879" y="205872"/>
                    </a:lnTo>
                    <a:lnTo>
                      <a:pt x="1101640" y="160568"/>
                    </a:lnTo>
                    <a:lnTo>
                      <a:pt x="1141398" y="199536"/>
                    </a:lnTo>
                    <a:lnTo>
                      <a:pt x="1098344" y="270865"/>
                    </a:lnTo>
                    <a:lnTo>
                      <a:pt x="1122993" y="298349"/>
                    </a:lnTo>
                    <a:lnTo>
                      <a:pt x="1143724" y="328433"/>
                    </a:lnTo>
                    <a:lnTo>
                      <a:pt x="1223600" y="305308"/>
                    </a:lnTo>
                    <a:lnTo>
                      <a:pt x="1250976" y="353781"/>
                    </a:lnTo>
                    <a:lnTo>
                      <a:pt x="1191329" y="408950"/>
                    </a:lnTo>
                    <a:lnTo>
                      <a:pt x="1210078" y="447173"/>
                    </a:lnTo>
                    <a:lnTo>
                      <a:pt x="1215570" y="462927"/>
                    </a:lnTo>
                    <a:lnTo>
                      <a:pt x="1297622" y="459842"/>
                    </a:lnTo>
                    <a:lnTo>
                      <a:pt x="1312464" y="513497"/>
                    </a:lnTo>
                    <a:lnTo>
                      <a:pt x="1241172" y="552647"/>
                    </a:lnTo>
                    <a:lnTo>
                      <a:pt x="1249127" y="605882"/>
                    </a:lnTo>
                    <a:lnTo>
                      <a:pt x="1250047" y="624091"/>
                    </a:lnTo>
                    <a:lnTo>
                      <a:pt x="1328932" y="642753"/>
                    </a:lnTo>
                    <a:lnTo>
                      <a:pt x="1328932" y="698423"/>
                    </a:lnTo>
                    <a:lnTo>
                      <a:pt x="1249387" y="717241"/>
                    </a:lnTo>
                    <a:lnTo>
                      <a:pt x="1248684" y="730252"/>
                    </a:lnTo>
                    <a:lnTo>
                      <a:pt x="1241256" y="775655"/>
                    </a:lnTo>
                    <a:lnTo>
                      <a:pt x="1313610" y="816722"/>
                    </a:lnTo>
                    <a:lnTo>
                      <a:pt x="1298015" y="870162"/>
                    </a:lnTo>
                    <a:lnTo>
                      <a:pt x="1216626" y="865957"/>
                    </a:lnTo>
                    <a:lnTo>
                      <a:pt x="1199435" y="909582"/>
                    </a:lnTo>
                    <a:lnTo>
                      <a:pt x="1190578" y="927031"/>
                    </a:lnTo>
                    <a:lnTo>
                      <a:pt x="1249948" y="987184"/>
                    </a:lnTo>
                    <a:lnTo>
                      <a:pt x="1220394" y="1034361"/>
                    </a:lnTo>
                    <a:lnTo>
                      <a:pt x="1142032" y="1007753"/>
                    </a:lnTo>
                    <a:lnTo>
                      <a:pt x="1123131" y="1033400"/>
                    </a:lnTo>
                    <a:lnTo>
                      <a:pt x="1101486" y="1057553"/>
                    </a:lnTo>
                    <a:lnTo>
                      <a:pt x="1142950" y="1129630"/>
                    </a:lnTo>
                    <a:lnTo>
                      <a:pt x="1102383" y="1167754"/>
                    </a:lnTo>
                    <a:lnTo>
                      <a:pt x="1034133" y="1122634"/>
                    </a:lnTo>
                    <a:lnTo>
                      <a:pt x="1032173" y="1124392"/>
                    </a:lnTo>
                    <a:lnTo>
                      <a:pt x="979289" y="1160837"/>
                    </a:lnTo>
                    <a:lnTo>
                      <a:pt x="1000685" y="1238240"/>
                    </a:lnTo>
                    <a:lnTo>
                      <a:pt x="951883" y="1265027"/>
                    </a:lnTo>
                    <a:lnTo>
                      <a:pt x="897347" y="1204611"/>
                    </a:lnTo>
                    <a:lnTo>
                      <a:pt x="883350" y="1211476"/>
                    </a:lnTo>
                    <a:lnTo>
                      <a:pt x="839354" y="1226815"/>
                    </a:lnTo>
                    <a:lnTo>
                      <a:pt x="836102" y="1310758"/>
                    </a:lnTo>
                    <a:lnTo>
                      <a:pt x="781473" y="1321469"/>
                    </a:lnTo>
                    <a:lnTo>
                      <a:pt x="747723" y="1247077"/>
                    </a:lnTo>
                    <a:lnTo>
                      <a:pt x="724640" y="1250526"/>
                    </a:lnTo>
                    <a:lnTo>
                      <a:pt x="680478" y="1252756"/>
                    </a:lnTo>
                    <a:lnTo>
                      <a:pt x="661856" y="1333866"/>
                    </a:lnTo>
                    <a:lnTo>
                      <a:pt x="596350" y="1330734"/>
                    </a:lnTo>
                    <a:lnTo>
                      <a:pt x="585472" y="1247624"/>
                    </a:lnTo>
                    <a:lnTo>
                      <a:pt x="546140" y="1241622"/>
                    </a:lnTo>
                    <a:lnTo>
                      <a:pt x="517647" y="1234296"/>
                    </a:lnTo>
                    <a:lnTo>
                      <a:pt x="473128" y="1305805"/>
                    </a:lnTo>
                    <a:lnTo>
                      <a:pt x="420365" y="1288054"/>
                    </a:lnTo>
                    <a:lnTo>
                      <a:pt x="428168" y="1203686"/>
                    </a:lnTo>
                    <a:lnTo>
                      <a:pt x="384478" y="1182639"/>
                    </a:lnTo>
                    <a:lnTo>
                      <a:pt x="369786" y="1173432"/>
                    </a:lnTo>
                    <a:lnTo>
                      <a:pt x="307149" y="1230379"/>
                    </a:lnTo>
                    <a:lnTo>
                      <a:pt x="261223" y="1198917"/>
                    </a:lnTo>
                    <a:lnTo>
                      <a:pt x="292070" y="1118989"/>
                    </a:lnTo>
                    <a:lnTo>
                      <a:pt x="266224" y="1097936"/>
                    </a:lnTo>
                    <a:lnTo>
                      <a:pt x="244458" y="1075225"/>
                    </a:lnTo>
                    <a:lnTo>
                      <a:pt x="170858" y="1111425"/>
                    </a:lnTo>
                    <a:lnTo>
                      <a:pt x="135448" y="1068469"/>
                    </a:lnTo>
                    <a:lnTo>
                      <a:pt x="184688" y="1003573"/>
                    </a:lnTo>
                    <a:lnTo>
                      <a:pt x="172420" y="987127"/>
                    </a:lnTo>
                    <a:lnTo>
                      <a:pt x="147185" y="943990"/>
                    </a:lnTo>
                    <a:lnTo>
                      <a:pt x="62973" y="954755"/>
                    </a:lnTo>
                    <a:lnTo>
                      <a:pt x="43391" y="902643"/>
                    </a:lnTo>
                    <a:lnTo>
                      <a:pt x="109846" y="857979"/>
                    </a:lnTo>
                    <a:lnTo>
                      <a:pt x="99254" y="826823"/>
                    </a:lnTo>
                    <a:lnTo>
                      <a:pt x="91285" y="789027"/>
                    </a:lnTo>
                    <a:lnTo>
                      <a:pt x="6677" y="779505"/>
                    </a:lnTo>
                    <a:lnTo>
                      <a:pt x="0" y="724237"/>
                    </a:lnTo>
                    <a:lnTo>
                      <a:pt x="78990" y="695176"/>
                    </a:lnTo>
                    <a:lnTo>
                      <a:pt x="76963" y="665961"/>
                    </a:lnTo>
                    <a:lnTo>
                      <a:pt x="79576" y="627118"/>
                    </a:lnTo>
                    <a:lnTo>
                      <a:pt x="2614" y="599172"/>
                    </a:lnTo>
                    <a:lnTo>
                      <a:pt x="9058" y="543876"/>
                    </a:lnTo>
                    <a:lnTo>
                      <a:pt x="92983" y="534071"/>
                    </a:lnTo>
                    <a:lnTo>
                      <a:pt x="97943" y="509790"/>
                    </a:lnTo>
                    <a:lnTo>
                      <a:pt x="113985" y="463592"/>
                    </a:lnTo>
                    <a:lnTo>
                      <a:pt x="48447" y="415605"/>
                    </a:lnTo>
                    <a:lnTo>
                      <a:pt x="70110" y="364324"/>
                    </a:lnTo>
                    <a:lnTo>
                      <a:pt x="152721" y="378283"/>
                    </a:lnTo>
                    <a:lnTo>
                      <a:pt x="157150" y="369453"/>
                    </a:lnTo>
                    <a:lnTo>
                      <a:pt x="186297" y="325075"/>
                    </a:lnTo>
                    <a:lnTo>
                      <a:pt x="136161" y="260212"/>
                    </a:lnTo>
                    <a:lnTo>
                      <a:pt x="171186" y="216941"/>
                    </a:lnTo>
                    <a:lnTo>
                      <a:pt x="247151" y="253464"/>
                    </a:lnTo>
                    <a:lnTo>
                      <a:pt x="270780" y="229826"/>
                    </a:lnTo>
                    <a:lnTo>
                      <a:pt x="297792" y="208570"/>
                    </a:lnTo>
                    <a:lnTo>
                      <a:pt x="270314" y="128437"/>
                    </a:lnTo>
                    <a:lnTo>
                      <a:pt x="317402" y="98741"/>
                    </a:lnTo>
                    <a:lnTo>
                      <a:pt x="375534" y="155773"/>
                    </a:lnTo>
                    <a:lnTo>
                      <a:pt x="403413" y="139438"/>
                    </a:lnTo>
                    <a:lnTo>
                      <a:pt x="430496" y="127395"/>
                    </a:lnTo>
                    <a:lnTo>
                      <a:pt x="422175" y="43886"/>
                    </a:lnTo>
                    <a:lnTo>
                      <a:pt x="474812" y="25761"/>
                    </a:lnTo>
                    <a:lnTo>
                      <a:pt x="519802" y="96899"/>
                    </a:lnTo>
                    <a:lnTo>
                      <a:pt x="546140" y="90300"/>
                    </a:lnTo>
                    <a:lnTo>
                      <a:pt x="580134" y="85112"/>
                    </a:lnTo>
                    <a:lnTo>
                      <a:pt x="595139" y="2884"/>
                    </a:lnTo>
                    <a:lnTo>
                      <a:pt x="650734" y="0"/>
                    </a:lnTo>
                    <a:close/>
                    <a:moveTo>
                      <a:pt x="664466" y="190154"/>
                    </a:moveTo>
                    <a:cubicBezTo>
                      <a:pt x="401148" y="190154"/>
                      <a:pt x="187687" y="403615"/>
                      <a:pt x="187687" y="666933"/>
                    </a:cubicBezTo>
                    <a:cubicBezTo>
                      <a:pt x="187687" y="930251"/>
                      <a:pt x="401148" y="1143712"/>
                      <a:pt x="664466" y="1143712"/>
                    </a:cubicBezTo>
                    <a:cubicBezTo>
                      <a:pt x="927784" y="1143712"/>
                      <a:pt x="1141245" y="930251"/>
                      <a:pt x="1141245" y="666933"/>
                    </a:cubicBezTo>
                    <a:cubicBezTo>
                      <a:pt x="1141245" y="403615"/>
                      <a:pt x="927784" y="190154"/>
                      <a:pt x="664466" y="190154"/>
                    </a:cubicBezTo>
                    <a:close/>
                  </a:path>
                </a:pathLst>
              </a:cu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" name="Oval 169"/>
              <p:cNvSpPr/>
              <p:nvPr/>
            </p:nvSpPr>
            <p:spPr>
              <a:xfrm>
                <a:off x="6242652" y="4824470"/>
                <a:ext cx="394036" cy="394036"/>
              </a:xfrm>
              <a:prstGeom prst="ellipse">
                <a:avLst/>
              </a:prstGeom>
              <a:solidFill>
                <a:srgbClr val="5B9BD5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" name="Rectangle 1"/>
              <p:cNvSpPr/>
              <p:nvPr/>
            </p:nvSpPr>
            <p:spPr>
              <a:xfrm>
                <a:off x="6385606" y="4917058"/>
                <a:ext cx="170708" cy="91541"/>
              </a:xfrm>
              <a:custGeom>
                <a:avLst/>
                <a:gdLst>
                  <a:gd name="connsiteX0" fmla="*/ 0 w 4516017"/>
                  <a:gd name="connsiteY0" fmla="*/ 0 h 2612572"/>
                  <a:gd name="connsiteX1" fmla="*/ 4516017 w 4516017"/>
                  <a:gd name="connsiteY1" fmla="*/ 0 h 2612572"/>
                  <a:gd name="connsiteX2" fmla="*/ 4516017 w 4516017"/>
                  <a:gd name="connsiteY2" fmla="*/ 2612572 h 2612572"/>
                  <a:gd name="connsiteX3" fmla="*/ 0 w 4516017"/>
                  <a:gd name="connsiteY3" fmla="*/ 2612572 h 2612572"/>
                  <a:gd name="connsiteX4" fmla="*/ 0 w 4516017"/>
                  <a:gd name="connsiteY4" fmla="*/ 0 h 2612572"/>
                  <a:gd name="connsiteX0" fmla="*/ 0 w 4516017"/>
                  <a:gd name="connsiteY0" fmla="*/ 37322 h 2649894"/>
                  <a:gd name="connsiteX1" fmla="*/ 3638940 w 4516017"/>
                  <a:gd name="connsiteY1" fmla="*/ 0 h 2649894"/>
                  <a:gd name="connsiteX2" fmla="*/ 4516017 w 4516017"/>
                  <a:gd name="connsiteY2" fmla="*/ 2649894 h 2649894"/>
                  <a:gd name="connsiteX3" fmla="*/ 0 w 4516017"/>
                  <a:gd name="connsiteY3" fmla="*/ 2649894 h 2649894"/>
                  <a:gd name="connsiteX4" fmla="*/ 0 w 4516017"/>
                  <a:gd name="connsiteY4" fmla="*/ 37322 h 2649894"/>
                  <a:gd name="connsiteX0" fmla="*/ 0 w 4453264"/>
                  <a:gd name="connsiteY0" fmla="*/ 37322 h 2649894"/>
                  <a:gd name="connsiteX1" fmla="*/ 3638940 w 4453264"/>
                  <a:gd name="connsiteY1" fmla="*/ 0 h 2649894"/>
                  <a:gd name="connsiteX2" fmla="*/ 4453264 w 4453264"/>
                  <a:gd name="connsiteY2" fmla="*/ 1457588 h 2649894"/>
                  <a:gd name="connsiteX3" fmla="*/ 0 w 4453264"/>
                  <a:gd name="connsiteY3" fmla="*/ 2649894 h 2649894"/>
                  <a:gd name="connsiteX4" fmla="*/ 0 w 4453264"/>
                  <a:gd name="connsiteY4" fmla="*/ 37322 h 2649894"/>
                  <a:gd name="connsiteX0" fmla="*/ 0 w 4453264"/>
                  <a:gd name="connsiteY0" fmla="*/ 0 h 2612572"/>
                  <a:gd name="connsiteX1" fmla="*/ 3576188 w 4453264"/>
                  <a:gd name="connsiteY1" fmla="*/ 25431 h 2612572"/>
                  <a:gd name="connsiteX2" fmla="*/ 4453264 w 4453264"/>
                  <a:gd name="connsiteY2" fmla="*/ 1420266 h 2612572"/>
                  <a:gd name="connsiteX3" fmla="*/ 0 w 4453264"/>
                  <a:gd name="connsiteY3" fmla="*/ 2612572 h 2612572"/>
                  <a:gd name="connsiteX4" fmla="*/ 0 w 4453264"/>
                  <a:gd name="connsiteY4" fmla="*/ 0 h 2612572"/>
                  <a:gd name="connsiteX0" fmla="*/ 0 w 4471193"/>
                  <a:gd name="connsiteY0" fmla="*/ 0 h 2612572"/>
                  <a:gd name="connsiteX1" fmla="*/ 3576188 w 4471193"/>
                  <a:gd name="connsiteY1" fmla="*/ 25431 h 2612572"/>
                  <a:gd name="connsiteX2" fmla="*/ 4471193 w 4471193"/>
                  <a:gd name="connsiteY2" fmla="*/ 1007890 h 2612572"/>
                  <a:gd name="connsiteX3" fmla="*/ 0 w 4471193"/>
                  <a:gd name="connsiteY3" fmla="*/ 2612572 h 2612572"/>
                  <a:gd name="connsiteX4" fmla="*/ 0 w 4471193"/>
                  <a:gd name="connsiteY4" fmla="*/ 0 h 2612572"/>
                  <a:gd name="connsiteX0" fmla="*/ 0 w 4471193"/>
                  <a:gd name="connsiteY0" fmla="*/ 0 h 2612572"/>
                  <a:gd name="connsiteX1" fmla="*/ 3637873 w 4471193"/>
                  <a:gd name="connsiteY1" fmla="*/ 94374 h 2612572"/>
                  <a:gd name="connsiteX2" fmla="*/ 4471193 w 4471193"/>
                  <a:gd name="connsiteY2" fmla="*/ 1007890 h 2612572"/>
                  <a:gd name="connsiteX3" fmla="*/ 0 w 4471193"/>
                  <a:gd name="connsiteY3" fmla="*/ 2612572 h 2612572"/>
                  <a:gd name="connsiteX4" fmla="*/ 0 w 4471193"/>
                  <a:gd name="connsiteY4" fmla="*/ 0 h 2612572"/>
                  <a:gd name="connsiteX0" fmla="*/ 0 w 4394993"/>
                  <a:gd name="connsiteY0" fmla="*/ 0 h 2612572"/>
                  <a:gd name="connsiteX1" fmla="*/ 3637873 w 4394993"/>
                  <a:gd name="connsiteY1" fmla="*/ 94374 h 2612572"/>
                  <a:gd name="connsiteX2" fmla="*/ 4394993 w 4394993"/>
                  <a:gd name="connsiteY2" fmla="*/ 913547 h 2612572"/>
                  <a:gd name="connsiteX3" fmla="*/ 0 w 4394993"/>
                  <a:gd name="connsiteY3" fmla="*/ 2612572 h 2612572"/>
                  <a:gd name="connsiteX4" fmla="*/ 0 w 4394993"/>
                  <a:gd name="connsiteY4" fmla="*/ 0 h 2612572"/>
                  <a:gd name="connsiteX0" fmla="*/ 0 w 4394993"/>
                  <a:gd name="connsiteY0" fmla="*/ 0 h 2612572"/>
                  <a:gd name="connsiteX1" fmla="*/ 3645131 w 4394993"/>
                  <a:gd name="connsiteY1" fmla="*/ 94374 h 2612572"/>
                  <a:gd name="connsiteX2" fmla="*/ 4394993 w 4394993"/>
                  <a:gd name="connsiteY2" fmla="*/ 913547 h 2612572"/>
                  <a:gd name="connsiteX3" fmla="*/ 0 w 4394993"/>
                  <a:gd name="connsiteY3" fmla="*/ 2612572 h 2612572"/>
                  <a:gd name="connsiteX4" fmla="*/ 0 w 4394993"/>
                  <a:gd name="connsiteY4" fmla="*/ 0 h 2612572"/>
                  <a:gd name="connsiteX0" fmla="*/ 0 w 4394993"/>
                  <a:gd name="connsiteY0" fmla="*/ 0 h 2612572"/>
                  <a:gd name="connsiteX1" fmla="*/ 2698102 w 4394993"/>
                  <a:gd name="connsiteY1" fmla="*/ 71535 h 2612572"/>
                  <a:gd name="connsiteX2" fmla="*/ 3645131 w 4394993"/>
                  <a:gd name="connsiteY2" fmla="*/ 94374 h 2612572"/>
                  <a:gd name="connsiteX3" fmla="*/ 4394993 w 4394993"/>
                  <a:gd name="connsiteY3" fmla="*/ 913547 h 2612572"/>
                  <a:gd name="connsiteX4" fmla="*/ 0 w 4394993"/>
                  <a:gd name="connsiteY4" fmla="*/ 2612572 h 2612572"/>
                  <a:gd name="connsiteX5" fmla="*/ 0 w 4394993"/>
                  <a:gd name="connsiteY5" fmla="*/ 0 h 2612572"/>
                  <a:gd name="connsiteX0" fmla="*/ 0 w 4394993"/>
                  <a:gd name="connsiteY0" fmla="*/ 0 h 2612572"/>
                  <a:gd name="connsiteX1" fmla="*/ 3158930 w 4394993"/>
                  <a:gd name="connsiteY1" fmla="*/ 60650 h 2612572"/>
                  <a:gd name="connsiteX2" fmla="*/ 3645131 w 4394993"/>
                  <a:gd name="connsiteY2" fmla="*/ 94374 h 2612572"/>
                  <a:gd name="connsiteX3" fmla="*/ 4394993 w 4394993"/>
                  <a:gd name="connsiteY3" fmla="*/ 913547 h 2612572"/>
                  <a:gd name="connsiteX4" fmla="*/ 0 w 4394993"/>
                  <a:gd name="connsiteY4" fmla="*/ 2612572 h 2612572"/>
                  <a:gd name="connsiteX5" fmla="*/ 0 w 4394993"/>
                  <a:gd name="connsiteY5" fmla="*/ 0 h 2612572"/>
                  <a:gd name="connsiteX0" fmla="*/ 0 w 4394993"/>
                  <a:gd name="connsiteY0" fmla="*/ 0 h 2612572"/>
                  <a:gd name="connsiteX1" fmla="*/ 2306217 w 4394993"/>
                  <a:gd name="connsiteY1" fmla="*/ 46135 h 2612572"/>
                  <a:gd name="connsiteX2" fmla="*/ 3158930 w 4394993"/>
                  <a:gd name="connsiteY2" fmla="*/ 60650 h 2612572"/>
                  <a:gd name="connsiteX3" fmla="*/ 3645131 w 4394993"/>
                  <a:gd name="connsiteY3" fmla="*/ 94374 h 2612572"/>
                  <a:gd name="connsiteX4" fmla="*/ 4394993 w 4394993"/>
                  <a:gd name="connsiteY4" fmla="*/ 913547 h 2612572"/>
                  <a:gd name="connsiteX5" fmla="*/ 0 w 4394993"/>
                  <a:gd name="connsiteY5" fmla="*/ 2612572 h 2612572"/>
                  <a:gd name="connsiteX6" fmla="*/ 0 w 4394993"/>
                  <a:gd name="connsiteY6" fmla="*/ 0 h 2612572"/>
                  <a:gd name="connsiteX0" fmla="*/ 0 w 4394993"/>
                  <a:gd name="connsiteY0" fmla="*/ 0 h 2612572"/>
                  <a:gd name="connsiteX1" fmla="*/ 2679960 w 4394993"/>
                  <a:gd name="connsiteY1" fmla="*/ 292878 h 2612572"/>
                  <a:gd name="connsiteX2" fmla="*/ 3158930 w 4394993"/>
                  <a:gd name="connsiteY2" fmla="*/ 60650 h 2612572"/>
                  <a:gd name="connsiteX3" fmla="*/ 3645131 w 4394993"/>
                  <a:gd name="connsiteY3" fmla="*/ 94374 h 2612572"/>
                  <a:gd name="connsiteX4" fmla="*/ 4394993 w 4394993"/>
                  <a:gd name="connsiteY4" fmla="*/ 913547 h 2612572"/>
                  <a:gd name="connsiteX5" fmla="*/ 0 w 4394993"/>
                  <a:gd name="connsiteY5" fmla="*/ 2612572 h 2612572"/>
                  <a:gd name="connsiteX6" fmla="*/ 0 w 4394993"/>
                  <a:gd name="connsiteY6" fmla="*/ 0 h 2612572"/>
                  <a:gd name="connsiteX0" fmla="*/ 0 w 4394993"/>
                  <a:gd name="connsiteY0" fmla="*/ 0 h 2612572"/>
                  <a:gd name="connsiteX1" fmla="*/ 2679960 w 4394993"/>
                  <a:gd name="connsiteY1" fmla="*/ 292878 h 2612572"/>
                  <a:gd name="connsiteX2" fmla="*/ 3158930 w 4394993"/>
                  <a:gd name="connsiteY2" fmla="*/ 60650 h 2612572"/>
                  <a:gd name="connsiteX3" fmla="*/ 3645131 w 4394993"/>
                  <a:gd name="connsiteY3" fmla="*/ 94374 h 2612572"/>
                  <a:gd name="connsiteX4" fmla="*/ 4394993 w 4394993"/>
                  <a:gd name="connsiteY4" fmla="*/ 913547 h 2612572"/>
                  <a:gd name="connsiteX5" fmla="*/ 0 w 4394993"/>
                  <a:gd name="connsiteY5" fmla="*/ 2612572 h 2612572"/>
                  <a:gd name="connsiteX6" fmla="*/ 0 w 4394993"/>
                  <a:gd name="connsiteY6" fmla="*/ 0 h 2612572"/>
                  <a:gd name="connsiteX0" fmla="*/ 0 w 4394993"/>
                  <a:gd name="connsiteY0" fmla="*/ 9251 h 2621823"/>
                  <a:gd name="connsiteX1" fmla="*/ 2679960 w 4394993"/>
                  <a:gd name="connsiteY1" fmla="*/ 302129 h 2621823"/>
                  <a:gd name="connsiteX2" fmla="*/ 3158930 w 4394993"/>
                  <a:gd name="connsiteY2" fmla="*/ 69901 h 2621823"/>
                  <a:gd name="connsiteX3" fmla="*/ 3645131 w 4394993"/>
                  <a:gd name="connsiteY3" fmla="*/ 103625 h 2621823"/>
                  <a:gd name="connsiteX4" fmla="*/ 4394993 w 4394993"/>
                  <a:gd name="connsiteY4" fmla="*/ 922798 h 2621823"/>
                  <a:gd name="connsiteX5" fmla="*/ 0 w 4394993"/>
                  <a:gd name="connsiteY5" fmla="*/ 2621823 h 2621823"/>
                  <a:gd name="connsiteX6" fmla="*/ 0 w 4394993"/>
                  <a:gd name="connsiteY6" fmla="*/ 9251 h 2621823"/>
                  <a:gd name="connsiteX0" fmla="*/ 0 w 4394993"/>
                  <a:gd name="connsiteY0" fmla="*/ 21038 h 2633610"/>
                  <a:gd name="connsiteX1" fmla="*/ 2679960 w 4394993"/>
                  <a:gd name="connsiteY1" fmla="*/ 313916 h 2633610"/>
                  <a:gd name="connsiteX2" fmla="*/ 3158930 w 4394993"/>
                  <a:gd name="connsiteY2" fmla="*/ 81688 h 2633610"/>
                  <a:gd name="connsiteX3" fmla="*/ 3645131 w 4394993"/>
                  <a:gd name="connsiteY3" fmla="*/ 115412 h 2633610"/>
                  <a:gd name="connsiteX4" fmla="*/ 4394993 w 4394993"/>
                  <a:gd name="connsiteY4" fmla="*/ 934585 h 2633610"/>
                  <a:gd name="connsiteX5" fmla="*/ 0 w 4394993"/>
                  <a:gd name="connsiteY5" fmla="*/ 2633610 h 2633610"/>
                  <a:gd name="connsiteX6" fmla="*/ 0 w 4394993"/>
                  <a:gd name="connsiteY6" fmla="*/ 21038 h 2633610"/>
                  <a:gd name="connsiteX0" fmla="*/ 0 w 4394993"/>
                  <a:gd name="connsiteY0" fmla="*/ 16214 h 2628786"/>
                  <a:gd name="connsiteX1" fmla="*/ 2679960 w 4394993"/>
                  <a:gd name="connsiteY1" fmla="*/ 309092 h 2628786"/>
                  <a:gd name="connsiteX2" fmla="*/ 3158930 w 4394993"/>
                  <a:gd name="connsiteY2" fmla="*/ 76864 h 2628786"/>
                  <a:gd name="connsiteX3" fmla="*/ 3645131 w 4394993"/>
                  <a:gd name="connsiteY3" fmla="*/ 110588 h 2628786"/>
                  <a:gd name="connsiteX4" fmla="*/ 4394993 w 4394993"/>
                  <a:gd name="connsiteY4" fmla="*/ 929761 h 2628786"/>
                  <a:gd name="connsiteX5" fmla="*/ 0 w 4394993"/>
                  <a:gd name="connsiteY5" fmla="*/ 2628786 h 2628786"/>
                  <a:gd name="connsiteX6" fmla="*/ 0 w 4394993"/>
                  <a:gd name="connsiteY6" fmla="*/ 16214 h 2628786"/>
                  <a:gd name="connsiteX0" fmla="*/ 0 w 4394993"/>
                  <a:gd name="connsiteY0" fmla="*/ 21436 h 2634008"/>
                  <a:gd name="connsiteX1" fmla="*/ 2679960 w 4394993"/>
                  <a:gd name="connsiteY1" fmla="*/ 314314 h 2634008"/>
                  <a:gd name="connsiteX2" fmla="*/ 3148045 w 4394993"/>
                  <a:gd name="connsiteY2" fmla="*/ 74829 h 2634008"/>
                  <a:gd name="connsiteX3" fmla="*/ 3645131 w 4394993"/>
                  <a:gd name="connsiteY3" fmla="*/ 115810 h 2634008"/>
                  <a:gd name="connsiteX4" fmla="*/ 4394993 w 4394993"/>
                  <a:gd name="connsiteY4" fmla="*/ 934983 h 2634008"/>
                  <a:gd name="connsiteX5" fmla="*/ 0 w 4394993"/>
                  <a:gd name="connsiteY5" fmla="*/ 2634008 h 2634008"/>
                  <a:gd name="connsiteX6" fmla="*/ 0 w 4394993"/>
                  <a:gd name="connsiteY6" fmla="*/ 21436 h 2634008"/>
                  <a:gd name="connsiteX0" fmla="*/ 0 w 4394993"/>
                  <a:gd name="connsiteY0" fmla="*/ 21436 h 2634008"/>
                  <a:gd name="connsiteX1" fmla="*/ 2679960 w 4394993"/>
                  <a:gd name="connsiteY1" fmla="*/ 314314 h 2634008"/>
                  <a:gd name="connsiteX2" fmla="*/ 3148045 w 4394993"/>
                  <a:gd name="connsiteY2" fmla="*/ 74829 h 2634008"/>
                  <a:gd name="connsiteX3" fmla="*/ 3645131 w 4394993"/>
                  <a:gd name="connsiteY3" fmla="*/ 115810 h 2634008"/>
                  <a:gd name="connsiteX4" fmla="*/ 4394993 w 4394993"/>
                  <a:gd name="connsiteY4" fmla="*/ 934983 h 2634008"/>
                  <a:gd name="connsiteX5" fmla="*/ 0 w 4394993"/>
                  <a:gd name="connsiteY5" fmla="*/ 2634008 h 2634008"/>
                  <a:gd name="connsiteX6" fmla="*/ 0 w 4394993"/>
                  <a:gd name="connsiteY6" fmla="*/ 21436 h 2634008"/>
                  <a:gd name="connsiteX0" fmla="*/ 0 w 4394993"/>
                  <a:gd name="connsiteY0" fmla="*/ 18213 h 2630785"/>
                  <a:gd name="connsiteX1" fmla="*/ 2679960 w 4394993"/>
                  <a:gd name="connsiteY1" fmla="*/ 311091 h 2630785"/>
                  <a:gd name="connsiteX2" fmla="*/ 3148045 w 4394993"/>
                  <a:gd name="connsiteY2" fmla="*/ 71606 h 2630785"/>
                  <a:gd name="connsiteX3" fmla="*/ 3645131 w 4394993"/>
                  <a:gd name="connsiteY3" fmla="*/ 112587 h 2630785"/>
                  <a:gd name="connsiteX4" fmla="*/ 4394993 w 4394993"/>
                  <a:gd name="connsiteY4" fmla="*/ 931760 h 2630785"/>
                  <a:gd name="connsiteX5" fmla="*/ 0 w 4394993"/>
                  <a:gd name="connsiteY5" fmla="*/ 2630785 h 2630785"/>
                  <a:gd name="connsiteX6" fmla="*/ 0 w 4394993"/>
                  <a:gd name="connsiteY6" fmla="*/ 18213 h 2630785"/>
                  <a:gd name="connsiteX0" fmla="*/ 0 w 4394993"/>
                  <a:gd name="connsiteY0" fmla="*/ 29361 h 2641933"/>
                  <a:gd name="connsiteX1" fmla="*/ 2679960 w 4394993"/>
                  <a:gd name="connsiteY1" fmla="*/ 322239 h 2641933"/>
                  <a:gd name="connsiteX2" fmla="*/ 3148045 w 4394993"/>
                  <a:gd name="connsiteY2" fmla="*/ 82754 h 2641933"/>
                  <a:gd name="connsiteX3" fmla="*/ 3645131 w 4394993"/>
                  <a:gd name="connsiteY3" fmla="*/ 123735 h 2641933"/>
                  <a:gd name="connsiteX4" fmla="*/ 4394993 w 4394993"/>
                  <a:gd name="connsiteY4" fmla="*/ 942908 h 2641933"/>
                  <a:gd name="connsiteX5" fmla="*/ 0 w 4394993"/>
                  <a:gd name="connsiteY5" fmla="*/ 2641933 h 2641933"/>
                  <a:gd name="connsiteX6" fmla="*/ 0 w 4394993"/>
                  <a:gd name="connsiteY6" fmla="*/ 29361 h 2641933"/>
                  <a:gd name="connsiteX0" fmla="*/ 0 w 4394993"/>
                  <a:gd name="connsiteY0" fmla="*/ 21450 h 2634022"/>
                  <a:gd name="connsiteX1" fmla="*/ 2679960 w 4394993"/>
                  <a:gd name="connsiteY1" fmla="*/ 314328 h 2634022"/>
                  <a:gd name="connsiteX2" fmla="*/ 3148045 w 4394993"/>
                  <a:gd name="connsiteY2" fmla="*/ 74843 h 2634022"/>
                  <a:gd name="connsiteX3" fmla="*/ 3670531 w 4394993"/>
                  <a:gd name="connsiteY3" fmla="*/ 141224 h 2634022"/>
                  <a:gd name="connsiteX4" fmla="*/ 4394993 w 4394993"/>
                  <a:gd name="connsiteY4" fmla="*/ 934997 h 2634022"/>
                  <a:gd name="connsiteX5" fmla="*/ 0 w 4394993"/>
                  <a:gd name="connsiteY5" fmla="*/ 2634022 h 2634022"/>
                  <a:gd name="connsiteX6" fmla="*/ 0 w 4394993"/>
                  <a:gd name="connsiteY6" fmla="*/ 21450 h 2634022"/>
                  <a:gd name="connsiteX0" fmla="*/ 0 w 4394993"/>
                  <a:gd name="connsiteY0" fmla="*/ 21450 h 2634022"/>
                  <a:gd name="connsiteX1" fmla="*/ 2679960 w 4394993"/>
                  <a:gd name="connsiteY1" fmla="*/ 314328 h 2634022"/>
                  <a:gd name="connsiteX2" fmla="*/ 3148045 w 4394993"/>
                  <a:gd name="connsiteY2" fmla="*/ 74843 h 2634022"/>
                  <a:gd name="connsiteX3" fmla="*/ 3670531 w 4394993"/>
                  <a:gd name="connsiteY3" fmla="*/ 141224 h 2634022"/>
                  <a:gd name="connsiteX4" fmla="*/ 4394993 w 4394993"/>
                  <a:gd name="connsiteY4" fmla="*/ 934997 h 2634022"/>
                  <a:gd name="connsiteX5" fmla="*/ 3859245 w 4394993"/>
                  <a:gd name="connsiteY5" fmla="*/ 1130756 h 2634022"/>
                  <a:gd name="connsiteX6" fmla="*/ 0 w 4394993"/>
                  <a:gd name="connsiteY6" fmla="*/ 2634022 h 2634022"/>
                  <a:gd name="connsiteX7" fmla="*/ 0 w 4394993"/>
                  <a:gd name="connsiteY7" fmla="*/ 21450 h 2634022"/>
                  <a:gd name="connsiteX0" fmla="*/ 0 w 4465217"/>
                  <a:gd name="connsiteY0" fmla="*/ 21450 h 2634022"/>
                  <a:gd name="connsiteX1" fmla="*/ 2679960 w 4465217"/>
                  <a:gd name="connsiteY1" fmla="*/ 314328 h 2634022"/>
                  <a:gd name="connsiteX2" fmla="*/ 3148045 w 4465217"/>
                  <a:gd name="connsiteY2" fmla="*/ 74843 h 2634022"/>
                  <a:gd name="connsiteX3" fmla="*/ 3670531 w 4465217"/>
                  <a:gd name="connsiteY3" fmla="*/ 141224 h 2634022"/>
                  <a:gd name="connsiteX4" fmla="*/ 4394993 w 4465217"/>
                  <a:gd name="connsiteY4" fmla="*/ 934997 h 2634022"/>
                  <a:gd name="connsiteX5" fmla="*/ 4465217 w 4465217"/>
                  <a:gd name="connsiteY5" fmla="*/ 1348470 h 2634022"/>
                  <a:gd name="connsiteX6" fmla="*/ 0 w 4465217"/>
                  <a:gd name="connsiteY6" fmla="*/ 2634022 h 2634022"/>
                  <a:gd name="connsiteX7" fmla="*/ 0 w 4465217"/>
                  <a:gd name="connsiteY7" fmla="*/ 21450 h 2634022"/>
                  <a:gd name="connsiteX0" fmla="*/ 0 w 4465217"/>
                  <a:gd name="connsiteY0" fmla="*/ 21450 h 2634022"/>
                  <a:gd name="connsiteX1" fmla="*/ 2679960 w 4465217"/>
                  <a:gd name="connsiteY1" fmla="*/ 314328 h 2634022"/>
                  <a:gd name="connsiteX2" fmla="*/ 3148045 w 4465217"/>
                  <a:gd name="connsiteY2" fmla="*/ 74843 h 2634022"/>
                  <a:gd name="connsiteX3" fmla="*/ 3670531 w 4465217"/>
                  <a:gd name="connsiteY3" fmla="*/ 141224 h 2634022"/>
                  <a:gd name="connsiteX4" fmla="*/ 4394993 w 4465217"/>
                  <a:gd name="connsiteY4" fmla="*/ 934997 h 2634022"/>
                  <a:gd name="connsiteX5" fmla="*/ 4465217 w 4465217"/>
                  <a:gd name="connsiteY5" fmla="*/ 1348470 h 2634022"/>
                  <a:gd name="connsiteX6" fmla="*/ 3296817 w 4465217"/>
                  <a:gd name="connsiteY6" fmla="*/ 1678671 h 2634022"/>
                  <a:gd name="connsiteX7" fmla="*/ 0 w 4465217"/>
                  <a:gd name="connsiteY7" fmla="*/ 2634022 h 2634022"/>
                  <a:gd name="connsiteX8" fmla="*/ 0 w 4465217"/>
                  <a:gd name="connsiteY8" fmla="*/ 21450 h 2634022"/>
                  <a:gd name="connsiteX0" fmla="*/ 0 w 4465217"/>
                  <a:gd name="connsiteY0" fmla="*/ 21450 h 2634022"/>
                  <a:gd name="connsiteX1" fmla="*/ 2679960 w 4465217"/>
                  <a:gd name="connsiteY1" fmla="*/ 314328 h 2634022"/>
                  <a:gd name="connsiteX2" fmla="*/ 3148045 w 4465217"/>
                  <a:gd name="connsiteY2" fmla="*/ 74843 h 2634022"/>
                  <a:gd name="connsiteX3" fmla="*/ 3670531 w 4465217"/>
                  <a:gd name="connsiteY3" fmla="*/ 141224 h 2634022"/>
                  <a:gd name="connsiteX4" fmla="*/ 4394993 w 4465217"/>
                  <a:gd name="connsiteY4" fmla="*/ 934997 h 2634022"/>
                  <a:gd name="connsiteX5" fmla="*/ 4465217 w 4465217"/>
                  <a:gd name="connsiteY5" fmla="*/ 1348470 h 2634022"/>
                  <a:gd name="connsiteX6" fmla="*/ 4171303 w 4465217"/>
                  <a:gd name="connsiteY6" fmla="*/ 1689557 h 2634022"/>
                  <a:gd name="connsiteX7" fmla="*/ 0 w 4465217"/>
                  <a:gd name="connsiteY7" fmla="*/ 2634022 h 2634022"/>
                  <a:gd name="connsiteX8" fmla="*/ 0 w 4465217"/>
                  <a:gd name="connsiteY8" fmla="*/ 21450 h 2634022"/>
                  <a:gd name="connsiteX0" fmla="*/ 0 w 4487666"/>
                  <a:gd name="connsiteY0" fmla="*/ 21450 h 2634022"/>
                  <a:gd name="connsiteX1" fmla="*/ 2679960 w 4487666"/>
                  <a:gd name="connsiteY1" fmla="*/ 314328 h 2634022"/>
                  <a:gd name="connsiteX2" fmla="*/ 3148045 w 4487666"/>
                  <a:gd name="connsiteY2" fmla="*/ 74843 h 2634022"/>
                  <a:gd name="connsiteX3" fmla="*/ 3670531 w 4487666"/>
                  <a:gd name="connsiteY3" fmla="*/ 141224 h 2634022"/>
                  <a:gd name="connsiteX4" fmla="*/ 4394993 w 4487666"/>
                  <a:gd name="connsiteY4" fmla="*/ 934997 h 2634022"/>
                  <a:gd name="connsiteX5" fmla="*/ 4465217 w 4487666"/>
                  <a:gd name="connsiteY5" fmla="*/ 1348470 h 2634022"/>
                  <a:gd name="connsiteX6" fmla="*/ 4171303 w 4487666"/>
                  <a:gd name="connsiteY6" fmla="*/ 1689557 h 2634022"/>
                  <a:gd name="connsiteX7" fmla="*/ 0 w 4487666"/>
                  <a:gd name="connsiteY7" fmla="*/ 2634022 h 2634022"/>
                  <a:gd name="connsiteX8" fmla="*/ 0 w 4487666"/>
                  <a:gd name="connsiteY8" fmla="*/ 21450 h 2634022"/>
                  <a:gd name="connsiteX0" fmla="*/ 0 w 4494029"/>
                  <a:gd name="connsiteY0" fmla="*/ 21450 h 2634022"/>
                  <a:gd name="connsiteX1" fmla="*/ 2679960 w 4494029"/>
                  <a:gd name="connsiteY1" fmla="*/ 314328 h 2634022"/>
                  <a:gd name="connsiteX2" fmla="*/ 3148045 w 4494029"/>
                  <a:gd name="connsiteY2" fmla="*/ 74843 h 2634022"/>
                  <a:gd name="connsiteX3" fmla="*/ 3670531 w 4494029"/>
                  <a:gd name="connsiteY3" fmla="*/ 141224 h 2634022"/>
                  <a:gd name="connsiteX4" fmla="*/ 4394993 w 4494029"/>
                  <a:gd name="connsiteY4" fmla="*/ 934997 h 2634022"/>
                  <a:gd name="connsiteX5" fmla="*/ 4465217 w 4494029"/>
                  <a:gd name="connsiteY5" fmla="*/ 1348470 h 2634022"/>
                  <a:gd name="connsiteX6" fmla="*/ 4171303 w 4494029"/>
                  <a:gd name="connsiteY6" fmla="*/ 1689557 h 2634022"/>
                  <a:gd name="connsiteX7" fmla="*/ 0 w 4494029"/>
                  <a:gd name="connsiteY7" fmla="*/ 2634022 h 2634022"/>
                  <a:gd name="connsiteX8" fmla="*/ 0 w 4494029"/>
                  <a:gd name="connsiteY8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71303 w 4497210"/>
                  <a:gd name="connsiteY6" fmla="*/ 1689557 h 2634022"/>
                  <a:gd name="connsiteX7" fmla="*/ 0 w 4497210"/>
                  <a:gd name="connsiteY7" fmla="*/ 2634022 h 2634022"/>
                  <a:gd name="connsiteX8" fmla="*/ 0 w 4497210"/>
                  <a:gd name="connsiteY8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71303 w 4497210"/>
                  <a:gd name="connsiteY6" fmla="*/ 1689557 h 2634022"/>
                  <a:gd name="connsiteX7" fmla="*/ 0 w 4497210"/>
                  <a:gd name="connsiteY7" fmla="*/ 2634022 h 2634022"/>
                  <a:gd name="connsiteX8" fmla="*/ 0 w 4497210"/>
                  <a:gd name="connsiteY8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71303 w 4497210"/>
                  <a:gd name="connsiteY6" fmla="*/ 1689557 h 2634022"/>
                  <a:gd name="connsiteX7" fmla="*/ 2843243 w 4497210"/>
                  <a:gd name="connsiteY7" fmla="*/ 1987099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71303 w 4497210"/>
                  <a:gd name="connsiteY6" fmla="*/ 1689557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96703 w 4497210"/>
                  <a:gd name="connsiteY6" fmla="*/ 1700443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96703 w 4497210"/>
                  <a:gd name="connsiteY6" fmla="*/ 1700443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96703 w 4497210"/>
                  <a:gd name="connsiteY6" fmla="*/ 1700443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38646 w 4497210"/>
                  <a:gd name="connsiteY6" fmla="*/ 1714957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38646 w 4497210"/>
                  <a:gd name="connsiteY6" fmla="*/ 1714957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38646 w 4497210"/>
                  <a:gd name="connsiteY6" fmla="*/ 1714957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5904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60418 w 4497210"/>
                  <a:gd name="connsiteY6" fmla="*/ 1722214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0 w 4497210"/>
                  <a:gd name="connsiteY8" fmla="*/ 2634022 h 2634022"/>
                  <a:gd name="connsiteX9" fmla="*/ 0 w 4497210"/>
                  <a:gd name="connsiteY9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514529 w 4497210"/>
                  <a:gd name="connsiteY8" fmla="*/ 2357213 h 2634022"/>
                  <a:gd name="connsiteX9" fmla="*/ 0 w 4497210"/>
                  <a:gd name="connsiteY9" fmla="*/ 2634022 h 2634022"/>
                  <a:gd name="connsiteX10" fmla="*/ 0 w 4497210"/>
                  <a:gd name="connsiteY10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0 w 4497210"/>
                  <a:gd name="connsiteY9" fmla="*/ 2634022 h 2634022"/>
                  <a:gd name="connsiteX10" fmla="*/ 0 w 4497210"/>
                  <a:gd name="connsiteY10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0 w 4497210"/>
                  <a:gd name="connsiteY9" fmla="*/ 2634022 h 2634022"/>
                  <a:gd name="connsiteX10" fmla="*/ 0 w 4497210"/>
                  <a:gd name="connsiteY10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0 w 4497210"/>
                  <a:gd name="connsiteY9" fmla="*/ 2634022 h 2634022"/>
                  <a:gd name="connsiteX10" fmla="*/ 0 w 4497210"/>
                  <a:gd name="connsiteY10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429441 w 4497210"/>
                  <a:gd name="connsiteY9" fmla="*/ 2481746 h 2634022"/>
                  <a:gd name="connsiteX10" fmla="*/ 0 w 4497210"/>
                  <a:gd name="connsiteY10" fmla="*/ 2634022 h 2634022"/>
                  <a:gd name="connsiteX11" fmla="*/ 0 w 4497210"/>
                  <a:gd name="connsiteY11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24513 w 4497210"/>
                  <a:gd name="connsiteY9" fmla="*/ 1396658 h 2634022"/>
                  <a:gd name="connsiteX10" fmla="*/ 0 w 4497210"/>
                  <a:gd name="connsiteY10" fmla="*/ 2634022 h 2634022"/>
                  <a:gd name="connsiteX11" fmla="*/ 0 w 4497210"/>
                  <a:gd name="connsiteY11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0 w 4497210"/>
                  <a:gd name="connsiteY10" fmla="*/ 2634022 h 2634022"/>
                  <a:gd name="connsiteX11" fmla="*/ 0 w 4497210"/>
                  <a:gd name="connsiteY11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1824413 w 4497210"/>
                  <a:gd name="connsiteY10" fmla="*/ 1763942 h 2634022"/>
                  <a:gd name="connsiteX11" fmla="*/ 0 w 4497210"/>
                  <a:gd name="connsiteY11" fmla="*/ 2634022 h 2634022"/>
                  <a:gd name="connsiteX12" fmla="*/ 0 w 4497210"/>
                  <a:gd name="connsiteY12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0 w 4497210"/>
                  <a:gd name="connsiteY11" fmla="*/ 2634022 h 2634022"/>
                  <a:gd name="connsiteX12" fmla="*/ 0 w 4497210"/>
                  <a:gd name="connsiteY12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0 w 4497210"/>
                  <a:gd name="connsiteY11" fmla="*/ 2634022 h 2634022"/>
                  <a:gd name="connsiteX12" fmla="*/ 0 w 4497210"/>
                  <a:gd name="connsiteY12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0 w 4497210"/>
                  <a:gd name="connsiteY11" fmla="*/ 2634022 h 2634022"/>
                  <a:gd name="connsiteX12" fmla="*/ 0 w 4497210"/>
                  <a:gd name="connsiteY12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371785 w 4497210"/>
                  <a:gd name="connsiteY11" fmla="*/ 1777658 h 2634022"/>
                  <a:gd name="connsiteX12" fmla="*/ 0 w 4497210"/>
                  <a:gd name="connsiteY12" fmla="*/ 2634022 h 2634022"/>
                  <a:gd name="connsiteX13" fmla="*/ 0 w 4497210"/>
                  <a:gd name="connsiteY13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422077 w 4497210"/>
                  <a:gd name="connsiteY11" fmla="*/ 1261022 h 2634022"/>
                  <a:gd name="connsiteX12" fmla="*/ 0 w 4497210"/>
                  <a:gd name="connsiteY12" fmla="*/ 2634022 h 2634022"/>
                  <a:gd name="connsiteX13" fmla="*/ 0 w 4497210"/>
                  <a:gd name="connsiteY13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422077 w 4497210"/>
                  <a:gd name="connsiteY11" fmla="*/ 1261022 h 2634022"/>
                  <a:gd name="connsiteX12" fmla="*/ 0 w 4497210"/>
                  <a:gd name="connsiteY12" fmla="*/ 2634022 h 2634022"/>
                  <a:gd name="connsiteX13" fmla="*/ 0 w 4497210"/>
                  <a:gd name="connsiteY13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422077 w 4497210"/>
                  <a:gd name="connsiteY11" fmla="*/ 1261022 h 2634022"/>
                  <a:gd name="connsiteX12" fmla="*/ 0 w 4497210"/>
                  <a:gd name="connsiteY12" fmla="*/ 2634022 h 2634022"/>
                  <a:gd name="connsiteX13" fmla="*/ 0 w 4497210"/>
                  <a:gd name="connsiteY13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10113 w 4497210"/>
                  <a:gd name="connsiteY11" fmla="*/ 122444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422077 w 4497210"/>
                  <a:gd name="connsiteY12" fmla="*/ 1261022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380929 w 4497210"/>
                  <a:gd name="connsiteY12" fmla="*/ 1288454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634022"/>
                  <a:gd name="connsiteX1" fmla="*/ 2679960 w 4497210"/>
                  <a:gd name="connsiteY1" fmla="*/ 314328 h 2634022"/>
                  <a:gd name="connsiteX2" fmla="*/ 3148045 w 4497210"/>
                  <a:gd name="connsiteY2" fmla="*/ 74843 h 2634022"/>
                  <a:gd name="connsiteX3" fmla="*/ 3670531 w 4497210"/>
                  <a:gd name="connsiteY3" fmla="*/ 141224 h 2634022"/>
                  <a:gd name="connsiteX4" fmla="*/ 4394993 w 4497210"/>
                  <a:gd name="connsiteY4" fmla="*/ 934997 h 2634022"/>
                  <a:gd name="connsiteX5" fmla="*/ 4465217 w 4497210"/>
                  <a:gd name="connsiteY5" fmla="*/ 1348470 h 2634022"/>
                  <a:gd name="connsiteX6" fmla="*/ 4149532 w 4497210"/>
                  <a:gd name="connsiteY6" fmla="*/ 1725842 h 2634022"/>
                  <a:gd name="connsiteX7" fmla="*/ 3949958 w 4497210"/>
                  <a:gd name="connsiteY7" fmla="*/ 2324556 h 2634022"/>
                  <a:gd name="connsiteX8" fmla="*/ 3663300 w 4497210"/>
                  <a:gd name="connsiteY8" fmla="*/ 2408013 h 2634022"/>
                  <a:gd name="connsiteX9" fmla="*/ 2606225 w 4497210"/>
                  <a:gd name="connsiteY9" fmla="*/ 1401230 h 2634022"/>
                  <a:gd name="connsiteX10" fmla="*/ 2139881 w 4497210"/>
                  <a:gd name="connsiteY10" fmla="*/ 1302170 h 2634022"/>
                  <a:gd name="connsiteX11" fmla="*/ 1732973 w 4497210"/>
                  <a:gd name="connsiteY11" fmla="*/ 1247306 h 2634022"/>
                  <a:gd name="connsiteX12" fmla="*/ 1380929 w 4497210"/>
                  <a:gd name="connsiteY12" fmla="*/ 1288454 h 2634022"/>
                  <a:gd name="connsiteX13" fmla="*/ 0 w 4497210"/>
                  <a:gd name="connsiteY13" fmla="*/ 2634022 h 2634022"/>
                  <a:gd name="connsiteX14" fmla="*/ 0 w 4497210"/>
                  <a:gd name="connsiteY14" fmla="*/ 21450 h 2634022"/>
                  <a:gd name="connsiteX0" fmla="*/ 0 w 4497210"/>
                  <a:gd name="connsiteY0" fmla="*/ 21450 h 2435306"/>
                  <a:gd name="connsiteX1" fmla="*/ 2679960 w 4497210"/>
                  <a:gd name="connsiteY1" fmla="*/ 314328 h 2435306"/>
                  <a:gd name="connsiteX2" fmla="*/ 3148045 w 4497210"/>
                  <a:gd name="connsiteY2" fmla="*/ 74843 h 2435306"/>
                  <a:gd name="connsiteX3" fmla="*/ 3670531 w 4497210"/>
                  <a:gd name="connsiteY3" fmla="*/ 141224 h 2435306"/>
                  <a:gd name="connsiteX4" fmla="*/ 4394993 w 4497210"/>
                  <a:gd name="connsiteY4" fmla="*/ 934997 h 2435306"/>
                  <a:gd name="connsiteX5" fmla="*/ 4465217 w 4497210"/>
                  <a:gd name="connsiteY5" fmla="*/ 1348470 h 2435306"/>
                  <a:gd name="connsiteX6" fmla="*/ 4149532 w 4497210"/>
                  <a:gd name="connsiteY6" fmla="*/ 1725842 h 2435306"/>
                  <a:gd name="connsiteX7" fmla="*/ 3949958 w 4497210"/>
                  <a:gd name="connsiteY7" fmla="*/ 2324556 h 2435306"/>
                  <a:gd name="connsiteX8" fmla="*/ 3663300 w 4497210"/>
                  <a:gd name="connsiteY8" fmla="*/ 2408013 h 2435306"/>
                  <a:gd name="connsiteX9" fmla="*/ 2606225 w 4497210"/>
                  <a:gd name="connsiteY9" fmla="*/ 1401230 h 2435306"/>
                  <a:gd name="connsiteX10" fmla="*/ 2139881 w 4497210"/>
                  <a:gd name="connsiteY10" fmla="*/ 1302170 h 2435306"/>
                  <a:gd name="connsiteX11" fmla="*/ 1732973 w 4497210"/>
                  <a:gd name="connsiteY11" fmla="*/ 1247306 h 2435306"/>
                  <a:gd name="connsiteX12" fmla="*/ 1380929 w 4497210"/>
                  <a:gd name="connsiteY12" fmla="*/ 1288454 h 2435306"/>
                  <a:gd name="connsiteX13" fmla="*/ 438912 w 4497210"/>
                  <a:gd name="connsiteY13" fmla="*/ 1833922 h 2435306"/>
                  <a:gd name="connsiteX14" fmla="*/ 0 w 4497210"/>
                  <a:gd name="connsiteY14" fmla="*/ 21450 h 2435306"/>
                  <a:gd name="connsiteX0" fmla="*/ 0 w 4497210"/>
                  <a:gd name="connsiteY0" fmla="*/ 21450 h 2435306"/>
                  <a:gd name="connsiteX1" fmla="*/ 2679960 w 4497210"/>
                  <a:gd name="connsiteY1" fmla="*/ 314328 h 2435306"/>
                  <a:gd name="connsiteX2" fmla="*/ 3148045 w 4497210"/>
                  <a:gd name="connsiteY2" fmla="*/ 74843 h 2435306"/>
                  <a:gd name="connsiteX3" fmla="*/ 3670531 w 4497210"/>
                  <a:gd name="connsiteY3" fmla="*/ 141224 h 2435306"/>
                  <a:gd name="connsiteX4" fmla="*/ 4394993 w 4497210"/>
                  <a:gd name="connsiteY4" fmla="*/ 934997 h 2435306"/>
                  <a:gd name="connsiteX5" fmla="*/ 4465217 w 4497210"/>
                  <a:gd name="connsiteY5" fmla="*/ 1348470 h 2435306"/>
                  <a:gd name="connsiteX6" fmla="*/ 4149532 w 4497210"/>
                  <a:gd name="connsiteY6" fmla="*/ 1725842 h 2435306"/>
                  <a:gd name="connsiteX7" fmla="*/ 3949958 w 4497210"/>
                  <a:gd name="connsiteY7" fmla="*/ 2324556 h 2435306"/>
                  <a:gd name="connsiteX8" fmla="*/ 3663300 w 4497210"/>
                  <a:gd name="connsiteY8" fmla="*/ 2408013 h 2435306"/>
                  <a:gd name="connsiteX9" fmla="*/ 2606225 w 4497210"/>
                  <a:gd name="connsiteY9" fmla="*/ 1401230 h 2435306"/>
                  <a:gd name="connsiteX10" fmla="*/ 2139881 w 4497210"/>
                  <a:gd name="connsiteY10" fmla="*/ 1302170 h 2435306"/>
                  <a:gd name="connsiteX11" fmla="*/ 1732973 w 4497210"/>
                  <a:gd name="connsiteY11" fmla="*/ 1247306 h 2435306"/>
                  <a:gd name="connsiteX12" fmla="*/ 1380929 w 4497210"/>
                  <a:gd name="connsiteY12" fmla="*/ 1288454 h 2435306"/>
                  <a:gd name="connsiteX13" fmla="*/ 438912 w 4497210"/>
                  <a:gd name="connsiteY13" fmla="*/ 1833922 h 2435306"/>
                  <a:gd name="connsiteX14" fmla="*/ 0 w 4497210"/>
                  <a:gd name="connsiteY14" fmla="*/ 21450 h 2435306"/>
                  <a:gd name="connsiteX0" fmla="*/ 0 w 4497210"/>
                  <a:gd name="connsiteY0" fmla="*/ 21450 h 2435306"/>
                  <a:gd name="connsiteX1" fmla="*/ 2679960 w 4497210"/>
                  <a:gd name="connsiteY1" fmla="*/ 314328 h 2435306"/>
                  <a:gd name="connsiteX2" fmla="*/ 3148045 w 4497210"/>
                  <a:gd name="connsiteY2" fmla="*/ 74843 h 2435306"/>
                  <a:gd name="connsiteX3" fmla="*/ 3670531 w 4497210"/>
                  <a:gd name="connsiteY3" fmla="*/ 141224 h 2435306"/>
                  <a:gd name="connsiteX4" fmla="*/ 4394993 w 4497210"/>
                  <a:gd name="connsiteY4" fmla="*/ 934997 h 2435306"/>
                  <a:gd name="connsiteX5" fmla="*/ 4465217 w 4497210"/>
                  <a:gd name="connsiteY5" fmla="*/ 1348470 h 2435306"/>
                  <a:gd name="connsiteX6" fmla="*/ 4149532 w 4497210"/>
                  <a:gd name="connsiteY6" fmla="*/ 1725842 h 2435306"/>
                  <a:gd name="connsiteX7" fmla="*/ 3949958 w 4497210"/>
                  <a:gd name="connsiteY7" fmla="*/ 2324556 h 2435306"/>
                  <a:gd name="connsiteX8" fmla="*/ 3663300 w 4497210"/>
                  <a:gd name="connsiteY8" fmla="*/ 2408013 h 2435306"/>
                  <a:gd name="connsiteX9" fmla="*/ 2606225 w 4497210"/>
                  <a:gd name="connsiteY9" fmla="*/ 1401230 h 2435306"/>
                  <a:gd name="connsiteX10" fmla="*/ 2139881 w 4497210"/>
                  <a:gd name="connsiteY10" fmla="*/ 1302170 h 2435306"/>
                  <a:gd name="connsiteX11" fmla="*/ 1732973 w 4497210"/>
                  <a:gd name="connsiteY11" fmla="*/ 1247306 h 2435306"/>
                  <a:gd name="connsiteX12" fmla="*/ 1380929 w 4497210"/>
                  <a:gd name="connsiteY12" fmla="*/ 1288454 h 2435306"/>
                  <a:gd name="connsiteX13" fmla="*/ 438912 w 4497210"/>
                  <a:gd name="connsiteY13" fmla="*/ 1833922 h 2435306"/>
                  <a:gd name="connsiteX14" fmla="*/ 0 w 4497210"/>
                  <a:gd name="connsiteY14" fmla="*/ 21450 h 2435306"/>
                  <a:gd name="connsiteX0" fmla="*/ 0 w 4497210"/>
                  <a:gd name="connsiteY0" fmla="*/ 21450 h 2435306"/>
                  <a:gd name="connsiteX1" fmla="*/ 2679960 w 4497210"/>
                  <a:gd name="connsiteY1" fmla="*/ 314328 h 2435306"/>
                  <a:gd name="connsiteX2" fmla="*/ 3148045 w 4497210"/>
                  <a:gd name="connsiteY2" fmla="*/ 74843 h 2435306"/>
                  <a:gd name="connsiteX3" fmla="*/ 3670531 w 4497210"/>
                  <a:gd name="connsiteY3" fmla="*/ 141224 h 2435306"/>
                  <a:gd name="connsiteX4" fmla="*/ 4394993 w 4497210"/>
                  <a:gd name="connsiteY4" fmla="*/ 934997 h 2435306"/>
                  <a:gd name="connsiteX5" fmla="*/ 4465217 w 4497210"/>
                  <a:gd name="connsiteY5" fmla="*/ 1348470 h 2435306"/>
                  <a:gd name="connsiteX6" fmla="*/ 4149532 w 4497210"/>
                  <a:gd name="connsiteY6" fmla="*/ 1725842 h 2435306"/>
                  <a:gd name="connsiteX7" fmla="*/ 3949958 w 4497210"/>
                  <a:gd name="connsiteY7" fmla="*/ 2324556 h 2435306"/>
                  <a:gd name="connsiteX8" fmla="*/ 3663300 w 4497210"/>
                  <a:gd name="connsiteY8" fmla="*/ 2408013 h 2435306"/>
                  <a:gd name="connsiteX9" fmla="*/ 2606225 w 4497210"/>
                  <a:gd name="connsiteY9" fmla="*/ 1401230 h 2435306"/>
                  <a:gd name="connsiteX10" fmla="*/ 2139881 w 4497210"/>
                  <a:gd name="connsiteY10" fmla="*/ 1302170 h 2435306"/>
                  <a:gd name="connsiteX11" fmla="*/ 1732973 w 4497210"/>
                  <a:gd name="connsiteY11" fmla="*/ 1247306 h 2435306"/>
                  <a:gd name="connsiteX12" fmla="*/ 1380929 w 4497210"/>
                  <a:gd name="connsiteY12" fmla="*/ 1288454 h 2435306"/>
                  <a:gd name="connsiteX13" fmla="*/ 438912 w 4497210"/>
                  <a:gd name="connsiteY13" fmla="*/ 1833922 h 2435306"/>
                  <a:gd name="connsiteX14" fmla="*/ 210497 w 4497210"/>
                  <a:gd name="connsiteY14" fmla="*/ 904406 h 2435306"/>
                  <a:gd name="connsiteX15" fmla="*/ 0 w 4497210"/>
                  <a:gd name="connsiteY15" fmla="*/ 21450 h 2435306"/>
                  <a:gd name="connsiteX0" fmla="*/ 0 w 4497210"/>
                  <a:gd name="connsiteY0" fmla="*/ 21450 h 2435306"/>
                  <a:gd name="connsiteX1" fmla="*/ 2679960 w 4497210"/>
                  <a:gd name="connsiteY1" fmla="*/ 314328 h 2435306"/>
                  <a:gd name="connsiteX2" fmla="*/ 3148045 w 4497210"/>
                  <a:gd name="connsiteY2" fmla="*/ 74843 h 2435306"/>
                  <a:gd name="connsiteX3" fmla="*/ 3670531 w 4497210"/>
                  <a:gd name="connsiteY3" fmla="*/ 141224 h 2435306"/>
                  <a:gd name="connsiteX4" fmla="*/ 4394993 w 4497210"/>
                  <a:gd name="connsiteY4" fmla="*/ 934997 h 2435306"/>
                  <a:gd name="connsiteX5" fmla="*/ 4465217 w 4497210"/>
                  <a:gd name="connsiteY5" fmla="*/ 1348470 h 2435306"/>
                  <a:gd name="connsiteX6" fmla="*/ 4149532 w 4497210"/>
                  <a:gd name="connsiteY6" fmla="*/ 1725842 h 2435306"/>
                  <a:gd name="connsiteX7" fmla="*/ 3949958 w 4497210"/>
                  <a:gd name="connsiteY7" fmla="*/ 2324556 h 2435306"/>
                  <a:gd name="connsiteX8" fmla="*/ 3663300 w 4497210"/>
                  <a:gd name="connsiteY8" fmla="*/ 2408013 h 2435306"/>
                  <a:gd name="connsiteX9" fmla="*/ 2606225 w 4497210"/>
                  <a:gd name="connsiteY9" fmla="*/ 1401230 h 2435306"/>
                  <a:gd name="connsiteX10" fmla="*/ 2139881 w 4497210"/>
                  <a:gd name="connsiteY10" fmla="*/ 1302170 h 2435306"/>
                  <a:gd name="connsiteX11" fmla="*/ 1732973 w 4497210"/>
                  <a:gd name="connsiteY11" fmla="*/ 1247306 h 2435306"/>
                  <a:gd name="connsiteX12" fmla="*/ 1380929 w 4497210"/>
                  <a:gd name="connsiteY12" fmla="*/ 1288454 h 2435306"/>
                  <a:gd name="connsiteX13" fmla="*/ 438912 w 4497210"/>
                  <a:gd name="connsiteY13" fmla="*/ 1833922 h 2435306"/>
                  <a:gd name="connsiteX14" fmla="*/ 45905 w 4497210"/>
                  <a:gd name="connsiteY14" fmla="*/ 1393610 h 2435306"/>
                  <a:gd name="connsiteX15" fmla="*/ 0 w 4497210"/>
                  <a:gd name="connsiteY15" fmla="*/ 21450 h 2435306"/>
                  <a:gd name="connsiteX0" fmla="*/ 42359 w 4539569"/>
                  <a:gd name="connsiteY0" fmla="*/ 21450 h 2435306"/>
                  <a:gd name="connsiteX1" fmla="*/ 2722319 w 4539569"/>
                  <a:gd name="connsiteY1" fmla="*/ 314328 h 2435306"/>
                  <a:gd name="connsiteX2" fmla="*/ 3190404 w 4539569"/>
                  <a:gd name="connsiteY2" fmla="*/ 74843 h 2435306"/>
                  <a:gd name="connsiteX3" fmla="*/ 3712890 w 4539569"/>
                  <a:gd name="connsiteY3" fmla="*/ 141224 h 2435306"/>
                  <a:gd name="connsiteX4" fmla="*/ 4437352 w 4539569"/>
                  <a:gd name="connsiteY4" fmla="*/ 934997 h 2435306"/>
                  <a:gd name="connsiteX5" fmla="*/ 4507576 w 4539569"/>
                  <a:gd name="connsiteY5" fmla="*/ 1348470 h 2435306"/>
                  <a:gd name="connsiteX6" fmla="*/ 4191891 w 4539569"/>
                  <a:gd name="connsiteY6" fmla="*/ 1725842 h 2435306"/>
                  <a:gd name="connsiteX7" fmla="*/ 3992317 w 4539569"/>
                  <a:gd name="connsiteY7" fmla="*/ 2324556 h 2435306"/>
                  <a:gd name="connsiteX8" fmla="*/ 3705659 w 4539569"/>
                  <a:gd name="connsiteY8" fmla="*/ 2408013 h 2435306"/>
                  <a:gd name="connsiteX9" fmla="*/ 2648584 w 4539569"/>
                  <a:gd name="connsiteY9" fmla="*/ 1401230 h 2435306"/>
                  <a:gd name="connsiteX10" fmla="*/ 2182240 w 4539569"/>
                  <a:gd name="connsiteY10" fmla="*/ 1302170 h 2435306"/>
                  <a:gd name="connsiteX11" fmla="*/ 1775332 w 4539569"/>
                  <a:gd name="connsiteY11" fmla="*/ 1247306 h 2435306"/>
                  <a:gd name="connsiteX12" fmla="*/ 1423288 w 4539569"/>
                  <a:gd name="connsiteY12" fmla="*/ 1288454 h 2435306"/>
                  <a:gd name="connsiteX13" fmla="*/ 481271 w 4539569"/>
                  <a:gd name="connsiteY13" fmla="*/ 1833922 h 2435306"/>
                  <a:gd name="connsiteX14" fmla="*/ 88264 w 4539569"/>
                  <a:gd name="connsiteY14" fmla="*/ 1393610 h 2435306"/>
                  <a:gd name="connsiteX15" fmla="*/ 42359 w 4539569"/>
                  <a:gd name="connsiteY15" fmla="*/ 21450 h 2435306"/>
                  <a:gd name="connsiteX0" fmla="*/ 55431 w 4552641"/>
                  <a:gd name="connsiteY0" fmla="*/ 21450 h 2435306"/>
                  <a:gd name="connsiteX1" fmla="*/ 2735391 w 4552641"/>
                  <a:gd name="connsiteY1" fmla="*/ 314328 h 2435306"/>
                  <a:gd name="connsiteX2" fmla="*/ 3203476 w 4552641"/>
                  <a:gd name="connsiteY2" fmla="*/ 74843 h 2435306"/>
                  <a:gd name="connsiteX3" fmla="*/ 3725962 w 4552641"/>
                  <a:gd name="connsiteY3" fmla="*/ 141224 h 2435306"/>
                  <a:gd name="connsiteX4" fmla="*/ 4450424 w 4552641"/>
                  <a:gd name="connsiteY4" fmla="*/ 934997 h 2435306"/>
                  <a:gd name="connsiteX5" fmla="*/ 4520648 w 4552641"/>
                  <a:gd name="connsiteY5" fmla="*/ 1348470 h 2435306"/>
                  <a:gd name="connsiteX6" fmla="*/ 4204963 w 4552641"/>
                  <a:gd name="connsiteY6" fmla="*/ 1725842 h 2435306"/>
                  <a:gd name="connsiteX7" fmla="*/ 4005389 w 4552641"/>
                  <a:gd name="connsiteY7" fmla="*/ 2324556 h 2435306"/>
                  <a:gd name="connsiteX8" fmla="*/ 3718731 w 4552641"/>
                  <a:gd name="connsiteY8" fmla="*/ 2408013 h 2435306"/>
                  <a:gd name="connsiteX9" fmla="*/ 2661656 w 4552641"/>
                  <a:gd name="connsiteY9" fmla="*/ 1401230 h 2435306"/>
                  <a:gd name="connsiteX10" fmla="*/ 2195312 w 4552641"/>
                  <a:gd name="connsiteY10" fmla="*/ 1302170 h 2435306"/>
                  <a:gd name="connsiteX11" fmla="*/ 1788404 w 4552641"/>
                  <a:gd name="connsiteY11" fmla="*/ 1247306 h 2435306"/>
                  <a:gd name="connsiteX12" fmla="*/ 1436360 w 4552641"/>
                  <a:gd name="connsiteY12" fmla="*/ 1288454 h 2435306"/>
                  <a:gd name="connsiteX13" fmla="*/ 494343 w 4552641"/>
                  <a:gd name="connsiteY13" fmla="*/ 1833922 h 2435306"/>
                  <a:gd name="connsiteX14" fmla="*/ 101336 w 4552641"/>
                  <a:gd name="connsiteY14" fmla="*/ 1393610 h 2435306"/>
                  <a:gd name="connsiteX15" fmla="*/ 55431 w 4552641"/>
                  <a:gd name="connsiteY15" fmla="*/ 21450 h 2435306"/>
                  <a:gd name="connsiteX0" fmla="*/ 49771 w 4546981"/>
                  <a:gd name="connsiteY0" fmla="*/ 21450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49771 w 4546981"/>
                  <a:gd name="connsiteY15" fmla="*/ 21450 h 2435306"/>
                  <a:gd name="connsiteX0" fmla="*/ 1508239 w 4546981"/>
                  <a:gd name="connsiteY0" fmla="*/ 332346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1508239 w 4546981"/>
                  <a:gd name="connsiteY15" fmla="*/ 332346 h 2435306"/>
                  <a:gd name="connsiteX0" fmla="*/ 1252207 w 4546981"/>
                  <a:gd name="connsiteY0" fmla="*/ 483222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1252207 w 4546981"/>
                  <a:gd name="connsiteY15" fmla="*/ 483222 h 2435306"/>
                  <a:gd name="connsiteX0" fmla="*/ 1252207 w 4546981"/>
                  <a:gd name="connsiteY0" fmla="*/ 483222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1252207 w 4546981"/>
                  <a:gd name="connsiteY15" fmla="*/ 483222 h 2435306"/>
                  <a:gd name="connsiteX0" fmla="*/ 1252207 w 4546981"/>
                  <a:gd name="connsiteY0" fmla="*/ 483222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1252207 w 4546981"/>
                  <a:gd name="connsiteY15" fmla="*/ 483222 h 2435306"/>
                  <a:gd name="connsiteX0" fmla="*/ 1252207 w 4546981"/>
                  <a:gd name="connsiteY0" fmla="*/ 483222 h 2435306"/>
                  <a:gd name="connsiteX1" fmla="*/ 2729731 w 4546981"/>
                  <a:gd name="connsiteY1" fmla="*/ 314328 h 2435306"/>
                  <a:gd name="connsiteX2" fmla="*/ 3197816 w 4546981"/>
                  <a:gd name="connsiteY2" fmla="*/ 74843 h 2435306"/>
                  <a:gd name="connsiteX3" fmla="*/ 3720302 w 4546981"/>
                  <a:gd name="connsiteY3" fmla="*/ 141224 h 2435306"/>
                  <a:gd name="connsiteX4" fmla="*/ 4444764 w 4546981"/>
                  <a:gd name="connsiteY4" fmla="*/ 934997 h 2435306"/>
                  <a:gd name="connsiteX5" fmla="*/ 4514988 w 4546981"/>
                  <a:gd name="connsiteY5" fmla="*/ 1348470 h 2435306"/>
                  <a:gd name="connsiteX6" fmla="*/ 4199303 w 4546981"/>
                  <a:gd name="connsiteY6" fmla="*/ 1725842 h 2435306"/>
                  <a:gd name="connsiteX7" fmla="*/ 3999729 w 4546981"/>
                  <a:gd name="connsiteY7" fmla="*/ 2324556 h 2435306"/>
                  <a:gd name="connsiteX8" fmla="*/ 3713071 w 4546981"/>
                  <a:gd name="connsiteY8" fmla="*/ 2408013 h 2435306"/>
                  <a:gd name="connsiteX9" fmla="*/ 2655996 w 4546981"/>
                  <a:gd name="connsiteY9" fmla="*/ 1401230 h 2435306"/>
                  <a:gd name="connsiteX10" fmla="*/ 2189652 w 4546981"/>
                  <a:gd name="connsiteY10" fmla="*/ 1302170 h 2435306"/>
                  <a:gd name="connsiteX11" fmla="*/ 1782744 w 4546981"/>
                  <a:gd name="connsiteY11" fmla="*/ 1247306 h 2435306"/>
                  <a:gd name="connsiteX12" fmla="*/ 1430700 w 4546981"/>
                  <a:gd name="connsiteY12" fmla="*/ 1288454 h 2435306"/>
                  <a:gd name="connsiteX13" fmla="*/ 488683 w 4546981"/>
                  <a:gd name="connsiteY13" fmla="*/ 1833922 h 2435306"/>
                  <a:gd name="connsiteX14" fmla="*/ 95676 w 4546981"/>
                  <a:gd name="connsiteY14" fmla="*/ 1393610 h 2435306"/>
                  <a:gd name="connsiteX15" fmla="*/ 1252207 w 4546981"/>
                  <a:gd name="connsiteY15" fmla="*/ 483222 h 2435306"/>
                  <a:gd name="connsiteX0" fmla="*/ 1232610 w 4527384"/>
                  <a:gd name="connsiteY0" fmla="*/ 483222 h 2435306"/>
                  <a:gd name="connsiteX1" fmla="*/ 2710134 w 4527384"/>
                  <a:gd name="connsiteY1" fmla="*/ 314328 h 2435306"/>
                  <a:gd name="connsiteX2" fmla="*/ 3178219 w 4527384"/>
                  <a:gd name="connsiteY2" fmla="*/ 74843 h 2435306"/>
                  <a:gd name="connsiteX3" fmla="*/ 3700705 w 4527384"/>
                  <a:gd name="connsiteY3" fmla="*/ 141224 h 2435306"/>
                  <a:gd name="connsiteX4" fmla="*/ 4425167 w 4527384"/>
                  <a:gd name="connsiteY4" fmla="*/ 934997 h 2435306"/>
                  <a:gd name="connsiteX5" fmla="*/ 4495391 w 4527384"/>
                  <a:gd name="connsiteY5" fmla="*/ 1348470 h 2435306"/>
                  <a:gd name="connsiteX6" fmla="*/ 4179706 w 4527384"/>
                  <a:gd name="connsiteY6" fmla="*/ 1725842 h 2435306"/>
                  <a:gd name="connsiteX7" fmla="*/ 3980132 w 4527384"/>
                  <a:gd name="connsiteY7" fmla="*/ 2324556 h 2435306"/>
                  <a:gd name="connsiteX8" fmla="*/ 3693474 w 4527384"/>
                  <a:gd name="connsiteY8" fmla="*/ 2408013 h 2435306"/>
                  <a:gd name="connsiteX9" fmla="*/ 2636399 w 4527384"/>
                  <a:gd name="connsiteY9" fmla="*/ 1401230 h 2435306"/>
                  <a:gd name="connsiteX10" fmla="*/ 2170055 w 4527384"/>
                  <a:gd name="connsiteY10" fmla="*/ 1302170 h 2435306"/>
                  <a:gd name="connsiteX11" fmla="*/ 1763147 w 4527384"/>
                  <a:gd name="connsiteY11" fmla="*/ 1247306 h 2435306"/>
                  <a:gd name="connsiteX12" fmla="*/ 1411103 w 4527384"/>
                  <a:gd name="connsiteY12" fmla="*/ 1288454 h 2435306"/>
                  <a:gd name="connsiteX13" fmla="*/ 469086 w 4527384"/>
                  <a:gd name="connsiteY13" fmla="*/ 1833922 h 2435306"/>
                  <a:gd name="connsiteX14" fmla="*/ 98939 w 4527384"/>
                  <a:gd name="connsiteY14" fmla="*/ 1347890 h 2435306"/>
                  <a:gd name="connsiteX15" fmla="*/ 1232610 w 4527384"/>
                  <a:gd name="connsiteY15" fmla="*/ 483222 h 2435306"/>
                  <a:gd name="connsiteX0" fmla="*/ 1247947 w 4542721"/>
                  <a:gd name="connsiteY0" fmla="*/ 483222 h 2435306"/>
                  <a:gd name="connsiteX1" fmla="*/ 2725471 w 4542721"/>
                  <a:gd name="connsiteY1" fmla="*/ 314328 h 2435306"/>
                  <a:gd name="connsiteX2" fmla="*/ 3193556 w 4542721"/>
                  <a:gd name="connsiteY2" fmla="*/ 74843 h 2435306"/>
                  <a:gd name="connsiteX3" fmla="*/ 3716042 w 4542721"/>
                  <a:gd name="connsiteY3" fmla="*/ 141224 h 2435306"/>
                  <a:gd name="connsiteX4" fmla="*/ 4440504 w 4542721"/>
                  <a:gd name="connsiteY4" fmla="*/ 934997 h 2435306"/>
                  <a:gd name="connsiteX5" fmla="*/ 4510728 w 4542721"/>
                  <a:gd name="connsiteY5" fmla="*/ 1348470 h 2435306"/>
                  <a:gd name="connsiteX6" fmla="*/ 4195043 w 4542721"/>
                  <a:gd name="connsiteY6" fmla="*/ 1725842 h 2435306"/>
                  <a:gd name="connsiteX7" fmla="*/ 3995469 w 4542721"/>
                  <a:gd name="connsiteY7" fmla="*/ 2324556 h 2435306"/>
                  <a:gd name="connsiteX8" fmla="*/ 3708811 w 4542721"/>
                  <a:gd name="connsiteY8" fmla="*/ 2408013 h 2435306"/>
                  <a:gd name="connsiteX9" fmla="*/ 2651736 w 4542721"/>
                  <a:gd name="connsiteY9" fmla="*/ 1401230 h 2435306"/>
                  <a:gd name="connsiteX10" fmla="*/ 2185392 w 4542721"/>
                  <a:gd name="connsiteY10" fmla="*/ 1302170 h 2435306"/>
                  <a:gd name="connsiteX11" fmla="*/ 1778484 w 4542721"/>
                  <a:gd name="connsiteY11" fmla="*/ 1247306 h 2435306"/>
                  <a:gd name="connsiteX12" fmla="*/ 1426440 w 4542721"/>
                  <a:gd name="connsiteY12" fmla="*/ 1288454 h 2435306"/>
                  <a:gd name="connsiteX13" fmla="*/ 484423 w 4542721"/>
                  <a:gd name="connsiteY13" fmla="*/ 1833922 h 2435306"/>
                  <a:gd name="connsiteX14" fmla="*/ 114276 w 4542721"/>
                  <a:gd name="connsiteY14" fmla="*/ 1347890 h 2435306"/>
                  <a:gd name="connsiteX15" fmla="*/ 1247947 w 4542721"/>
                  <a:gd name="connsiteY15" fmla="*/ 483222 h 2435306"/>
                  <a:gd name="connsiteX0" fmla="*/ 1246681 w 4541455"/>
                  <a:gd name="connsiteY0" fmla="*/ 483222 h 2435306"/>
                  <a:gd name="connsiteX1" fmla="*/ 2724205 w 4541455"/>
                  <a:gd name="connsiteY1" fmla="*/ 314328 h 2435306"/>
                  <a:gd name="connsiteX2" fmla="*/ 3192290 w 4541455"/>
                  <a:gd name="connsiteY2" fmla="*/ 74843 h 2435306"/>
                  <a:gd name="connsiteX3" fmla="*/ 3714776 w 4541455"/>
                  <a:gd name="connsiteY3" fmla="*/ 141224 h 2435306"/>
                  <a:gd name="connsiteX4" fmla="*/ 4439238 w 4541455"/>
                  <a:gd name="connsiteY4" fmla="*/ 934997 h 2435306"/>
                  <a:gd name="connsiteX5" fmla="*/ 4509462 w 4541455"/>
                  <a:gd name="connsiteY5" fmla="*/ 1348470 h 2435306"/>
                  <a:gd name="connsiteX6" fmla="*/ 4193777 w 4541455"/>
                  <a:gd name="connsiteY6" fmla="*/ 1725842 h 2435306"/>
                  <a:gd name="connsiteX7" fmla="*/ 3994203 w 4541455"/>
                  <a:gd name="connsiteY7" fmla="*/ 2324556 h 2435306"/>
                  <a:gd name="connsiteX8" fmla="*/ 3707545 w 4541455"/>
                  <a:gd name="connsiteY8" fmla="*/ 2408013 h 2435306"/>
                  <a:gd name="connsiteX9" fmla="*/ 2650470 w 4541455"/>
                  <a:gd name="connsiteY9" fmla="*/ 1401230 h 2435306"/>
                  <a:gd name="connsiteX10" fmla="*/ 2184126 w 4541455"/>
                  <a:gd name="connsiteY10" fmla="*/ 1302170 h 2435306"/>
                  <a:gd name="connsiteX11" fmla="*/ 1777218 w 4541455"/>
                  <a:gd name="connsiteY11" fmla="*/ 1247306 h 2435306"/>
                  <a:gd name="connsiteX12" fmla="*/ 1425174 w 4541455"/>
                  <a:gd name="connsiteY12" fmla="*/ 1288454 h 2435306"/>
                  <a:gd name="connsiteX13" fmla="*/ 483157 w 4541455"/>
                  <a:gd name="connsiteY13" fmla="*/ 1833922 h 2435306"/>
                  <a:gd name="connsiteX14" fmla="*/ 113010 w 4541455"/>
                  <a:gd name="connsiteY14" fmla="*/ 1347890 h 2435306"/>
                  <a:gd name="connsiteX15" fmla="*/ 1246681 w 4541455"/>
                  <a:gd name="connsiteY15" fmla="*/ 483222 h 2435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541455" h="2435306">
                    <a:moveTo>
                      <a:pt x="1246681" y="483222"/>
                    </a:moveTo>
                    <a:cubicBezTo>
                      <a:pt x="1835201" y="52020"/>
                      <a:pt x="2396289" y="311190"/>
                      <a:pt x="2724205" y="314328"/>
                    </a:cubicBezTo>
                    <a:cubicBezTo>
                      <a:pt x="2960062" y="331262"/>
                      <a:pt x="3047147" y="170395"/>
                      <a:pt x="3192290" y="74843"/>
                    </a:cubicBezTo>
                    <a:cubicBezTo>
                      <a:pt x="3383386" y="-77202"/>
                      <a:pt x="3592623" y="32011"/>
                      <a:pt x="3714776" y="141224"/>
                    </a:cubicBezTo>
                    <a:lnTo>
                      <a:pt x="4439238" y="934997"/>
                    </a:lnTo>
                    <a:cubicBezTo>
                      <a:pt x="4506189" y="1003878"/>
                      <a:pt x="4587654" y="1116304"/>
                      <a:pt x="4509462" y="1348470"/>
                    </a:cubicBezTo>
                    <a:cubicBezTo>
                      <a:pt x="4436891" y="1483937"/>
                      <a:pt x="4280862" y="1633916"/>
                      <a:pt x="4193777" y="1725842"/>
                    </a:cubicBezTo>
                    <a:cubicBezTo>
                      <a:pt x="4115158" y="1959280"/>
                      <a:pt x="4076451" y="2116518"/>
                      <a:pt x="3994203" y="2324556"/>
                    </a:cubicBezTo>
                    <a:cubicBezTo>
                      <a:pt x="3956707" y="2399546"/>
                      <a:pt x="3850270" y="2478166"/>
                      <a:pt x="3707545" y="2408013"/>
                    </a:cubicBezTo>
                    <a:lnTo>
                      <a:pt x="2650470" y="1401230"/>
                    </a:lnTo>
                    <a:cubicBezTo>
                      <a:pt x="2581890" y="1340778"/>
                      <a:pt x="2463018" y="1243750"/>
                      <a:pt x="2184126" y="1302170"/>
                    </a:cubicBezTo>
                    <a:cubicBezTo>
                      <a:pt x="2066778" y="1309282"/>
                      <a:pt x="1983720" y="1304456"/>
                      <a:pt x="1777218" y="1247306"/>
                    </a:cubicBezTo>
                    <a:cubicBezTo>
                      <a:pt x="1726164" y="1217588"/>
                      <a:pt x="1655329" y="1154109"/>
                      <a:pt x="1425174" y="1288454"/>
                    </a:cubicBezTo>
                    <a:cubicBezTo>
                      <a:pt x="932860" y="1563241"/>
                      <a:pt x="756015" y="1710011"/>
                      <a:pt x="483157" y="1833922"/>
                    </a:cubicBezTo>
                    <a:cubicBezTo>
                      <a:pt x="246999" y="1938611"/>
                      <a:pt x="-213188" y="1691257"/>
                      <a:pt x="113010" y="1347890"/>
                    </a:cubicBezTo>
                    <a:lnTo>
                      <a:pt x="1246681" y="483222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" name="Rectangle 2"/>
              <p:cNvSpPr/>
              <p:nvPr/>
            </p:nvSpPr>
            <p:spPr>
              <a:xfrm>
                <a:off x="6323021" y="4917479"/>
                <a:ext cx="106329" cy="105709"/>
              </a:xfrm>
              <a:custGeom>
                <a:avLst/>
                <a:gdLst>
                  <a:gd name="connsiteX0" fmla="*/ 0 w 2013626"/>
                  <a:gd name="connsiteY0" fmla="*/ 0 h 1327826"/>
                  <a:gd name="connsiteX1" fmla="*/ 2013626 w 2013626"/>
                  <a:gd name="connsiteY1" fmla="*/ 0 h 1327826"/>
                  <a:gd name="connsiteX2" fmla="*/ 2013626 w 2013626"/>
                  <a:gd name="connsiteY2" fmla="*/ 1327826 h 1327826"/>
                  <a:gd name="connsiteX3" fmla="*/ 0 w 2013626"/>
                  <a:gd name="connsiteY3" fmla="*/ 1327826 h 1327826"/>
                  <a:gd name="connsiteX4" fmla="*/ 0 w 2013626"/>
                  <a:gd name="connsiteY4" fmla="*/ 0 h 1327826"/>
                  <a:gd name="connsiteX0" fmla="*/ 311285 w 2324911"/>
                  <a:gd name="connsiteY0" fmla="*/ 0 h 1347281"/>
                  <a:gd name="connsiteX1" fmla="*/ 2324911 w 2324911"/>
                  <a:gd name="connsiteY1" fmla="*/ 0 h 1347281"/>
                  <a:gd name="connsiteX2" fmla="*/ 2324911 w 2324911"/>
                  <a:gd name="connsiteY2" fmla="*/ 1327826 h 1347281"/>
                  <a:gd name="connsiteX3" fmla="*/ 0 w 2324911"/>
                  <a:gd name="connsiteY3" fmla="*/ 1347281 h 1347281"/>
                  <a:gd name="connsiteX4" fmla="*/ 311285 w 2324911"/>
                  <a:gd name="connsiteY4" fmla="*/ 0 h 1347281"/>
                  <a:gd name="connsiteX0" fmla="*/ 38911 w 2324911"/>
                  <a:gd name="connsiteY0" fmla="*/ 768486 h 1347281"/>
                  <a:gd name="connsiteX1" fmla="*/ 2324911 w 2324911"/>
                  <a:gd name="connsiteY1" fmla="*/ 0 h 1347281"/>
                  <a:gd name="connsiteX2" fmla="*/ 2324911 w 2324911"/>
                  <a:gd name="connsiteY2" fmla="*/ 1327826 h 1347281"/>
                  <a:gd name="connsiteX3" fmla="*/ 0 w 2324911"/>
                  <a:gd name="connsiteY3" fmla="*/ 1347281 h 1347281"/>
                  <a:gd name="connsiteX4" fmla="*/ 38911 w 2324911"/>
                  <a:gd name="connsiteY4" fmla="*/ 768486 h 1347281"/>
                  <a:gd name="connsiteX0" fmla="*/ 38911 w 2324911"/>
                  <a:gd name="connsiteY0" fmla="*/ 972767 h 1551562"/>
                  <a:gd name="connsiteX1" fmla="*/ 928992 w 2324911"/>
                  <a:gd name="connsiteY1" fmla="*/ 0 h 1551562"/>
                  <a:gd name="connsiteX2" fmla="*/ 2324911 w 2324911"/>
                  <a:gd name="connsiteY2" fmla="*/ 1532107 h 1551562"/>
                  <a:gd name="connsiteX3" fmla="*/ 0 w 2324911"/>
                  <a:gd name="connsiteY3" fmla="*/ 1551562 h 1551562"/>
                  <a:gd name="connsiteX4" fmla="*/ 38911 w 2324911"/>
                  <a:gd name="connsiteY4" fmla="*/ 972767 h 1551562"/>
                  <a:gd name="connsiteX0" fmla="*/ 38911 w 1585609"/>
                  <a:gd name="connsiteY0" fmla="*/ 982494 h 1561289"/>
                  <a:gd name="connsiteX1" fmla="*/ 928992 w 1585609"/>
                  <a:gd name="connsiteY1" fmla="*/ 9727 h 1561289"/>
                  <a:gd name="connsiteX2" fmla="*/ 1585609 w 1585609"/>
                  <a:gd name="connsiteY2" fmla="*/ 0 h 1561289"/>
                  <a:gd name="connsiteX3" fmla="*/ 0 w 1585609"/>
                  <a:gd name="connsiteY3" fmla="*/ 1561289 h 1561289"/>
                  <a:gd name="connsiteX4" fmla="*/ 38911 w 1585609"/>
                  <a:gd name="connsiteY4" fmla="*/ 982494 h 1561289"/>
                  <a:gd name="connsiteX0" fmla="*/ 38911 w 1585609"/>
                  <a:gd name="connsiteY0" fmla="*/ 982494 h 1561289"/>
                  <a:gd name="connsiteX1" fmla="*/ 928992 w 1585609"/>
                  <a:gd name="connsiteY1" fmla="*/ 9727 h 1561289"/>
                  <a:gd name="connsiteX2" fmla="*/ 1585609 w 1585609"/>
                  <a:gd name="connsiteY2" fmla="*/ 0 h 1561289"/>
                  <a:gd name="connsiteX3" fmla="*/ 1181912 w 1585609"/>
                  <a:gd name="connsiteY3" fmla="*/ 384243 h 1561289"/>
                  <a:gd name="connsiteX4" fmla="*/ 0 w 1585609"/>
                  <a:gd name="connsiteY4" fmla="*/ 1561289 h 1561289"/>
                  <a:gd name="connsiteX5" fmla="*/ 38911 w 1585609"/>
                  <a:gd name="connsiteY5" fmla="*/ 982494 h 1561289"/>
                  <a:gd name="connsiteX0" fmla="*/ 38911 w 2490282"/>
                  <a:gd name="connsiteY0" fmla="*/ 982494 h 1561289"/>
                  <a:gd name="connsiteX1" fmla="*/ 928992 w 2490282"/>
                  <a:gd name="connsiteY1" fmla="*/ 9727 h 1561289"/>
                  <a:gd name="connsiteX2" fmla="*/ 1585609 w 2490282"/>
                  <a:gd name="connsiteY2" fmla="*/ 0 h 1561289"/>
                  <a:gd name="connsiteX3" fmla="*/ 2490282 w 2490282"/>
                  <a:gd name="connsiteY3" fmla="*/ 131323 h 1561289"/>
                  <a:gd name="connsiteX4" fmla="*/ 0 w 2490282"/>
                  <a:gd name="connsiteY4" fmla="*/ 1561289 h 1561289"/>
                  <a:gd name="connsiteX5" fmla="*/ 38911 w 2490282"/>
                  <a:gd name="connsiteY5" fmla="*/ 982494 h 1561289"/>
                  <a:gd name="connsiteX0" fmla="*/ 38911 w 2490282"/>
                  <a:gd name="connsiteY0" fmla="*/ 982494 h 1561289"/>
                  <a:gd name="connsiteX1" fmla="*/ 928992 w 2490282"/>
                  <a:gd name="connsiteY1" fmla="*/ 9727 h 1561289"/>
                  <a:gd name="connsiteX2" fmla="*/ 1585609 w 2490282"/>
                  <a:gd name="connsiteY2" fmla="*/ 0 h 1561289"/>
                  <a:gd name="connsiteX3" fmla="*/ 2490282 w 2490282"/>
                  <a:gd name="connsiteY3" fmla="*/ 131323 h 1561289"/>
                  <a:gd name="connsiteX4" fmla="*/ 1347281 w 2490282"/>
                  <a:gd name="connsiteY4" fmla="*/ 792805 h 1561289"/>
                  <a:gd name="connsiteX5" fmla="*/ 0 w 2490282"/>
                  <a:gd name="connsiteY5" fmla="*/ 1561289 h 1561289"/>
                  <a:gd name="connsiteX6" fmla="*/ 38911 w 2490282"/>
                  <a:gd name="connsiteY6" fmla="*/ 982494 h 1561289"/>
                  <a:gd name="connsiteX0" fmla="*/ 38911 w 2490282"/>
                  <a:gd name="connsiteY0" fmla="*/ 982494 h 1561289"/>
                  <a:gd name="connsiteX1" fmla="*/ 928992 w 2490282"/>
                  <a:gd name="connsiteY1" fmla="*/ 9727 h 1561289"/>
                  <a:gd name="connsiteX2" fmla="*/ 1585609 w 2490282"/>
                  <a:gd name="connsiteY2" fmla="*/ 0 h 1561289"/>
                  <a:gd name="connsiteX3" fmla="*/ 2490282 w 2490282"/>
                  <a:gd name="connsiteY3" fmla="*/ 131323 h 1561289"/>
                  <a:gd name="connsiteX4" fmla="*/ 1488332 w 2490282"/>
                  <a:gd name="connsiteY4" fmla="*/ 355060 h 1561289"/>
                  <a:gd name="connsiteX5" fmla="*/ 0 w 2490282"/>
                  <a:gd name="connsiteY5" fmla="*/ 1561289 h 1561289"/>
                  <a:gd name="connsiteX6" fmla="*/ 38911 w 2490282"/>
                  <a:gd name="connsiteY6" fmla="*/ 982494 h 1561289"/>
                  <a:gd name="connsiteX0" fmla="*/ 38911 w 2490282"/>
                  <a:gd name="connsiteY0" fmla="*/ 982494 h 1561289"/>
                  <a:gd name="connsiteX1" fmla="*/ 928992 w 2490282"/>
                  <a:gd name="connsiteY1" fmla="*/ 9727 h 1561289"/>
                  <a:gd name="connsiteX2" fmla="*/ 1585609 w 2490282"/>
                  <a:gd name="connsiteY2" fmla="*/ 0 h 1561289"/>
                  <a:gd name="connsiteX3" fmla="*/ 2490282 w 2490282"/>
                  <a:gd name="connsiteY3" fmla="*/ 131323 h 1561289"/>
                  <a:gd name="connsiteX4" fmla="*/ 1488332 w 2490282"/>
                  <a:gd name="connsiteY4" fmla="*/ 355060 h 1561289"/>
                  <a:gd name="connsiteX5" fmla="*/ 787940 w 2490282"/>
                  <a:gd name="connsiteY5" fmla="*/ 914401 h 1561289"/>
                  <a:gd name="connsiteX6" fmla="*/ 0 w 2490282"/>
                  <a:gd name="connsiteY6" fmla="*/ 1561289 h 1561289"/>
                  <a:gd name="connsiteX7" fmla="*/ 38911 w 2490282"/>
                  <a:gd name="connsiteY7" fmla="*/ 982494 h 1561289"/>
                  <a:gd name="connsiteX0" fmla="*/ 38911 w 2490282"/>
                  <a:gd name="connsiteY0" fmla="*/ 982494 h 1561289"/>
                  <a:gd name="connsiteX1" fmla="*/ 928992 w 2490282"/>
                  <a:gd name="connsiteY1" fmla="*/ 9727 h 1561289"/>
                  <a:gd name="connsiteX2" fmla="*/ 1585609 w 2490282"/>
                  <a:gd name="connsiteY2" fmla="*/ 0 h 1561289"/>
                  <a:gd name="connsiteX3" fmla="*/ 2490282 w 2490282"/>
                  <a:gd name="connsiteY3" fmla="*/ 131323 h 1561289"/>
                  <a:gd name="connsiteX4" fmla="*/ 1488332 w 2490282"/>
                  <a:gd name="connsiteY4" fmla="*/ 355060 h 1561289"/>
                  <a:gd name="connsiteX5" fmla="*/ 1070042 w 2490282"/>
                  <a:gd name="connsiteY5" fmla="*/ 306422 h 1561289"/>
                  <a:gd name="connsiteX6" fmla="*/ 0 w 2490282"/>
                  <a:gd name="connsiteY6" fmla="*/ 1561289 h 1561289"/>
                  <a:gd name="connsiteX7" fmla="*/ 38911 w 2490282"/>
                  <a:gd name="connsiteY7" fmla="*/ 982494 h 1561289"/>
                  <a:gd name="connsiteX0" fmla="*/ 53503 w 2504874"/>
                  <a:gd name="connsiteY0" fmla="*/ 982494 h 1532106"/>
                  <a:gd name="connsiteX1" fmla="*/ 943584 w 2504874"/>
                  <a:gd name="connsiteY1" fmla="*/ 9727 h 1532106"/>
                  <a:gd name="connsiteX2" fmla="*/ 1600201 w 2504874"/>
                  <a:gd name="connsiteY2" fmla="*/ 0 h 1532106"/>
                  <a:gd name="connsiteX3" fmla="*/ 2504874 w 2504874"/>
                  <a:gd name="connsiteY3" fmla="*/ 131323 h 1532106"/>
                  <a:gd name="connsiteX4" fmla="*/ 1502924 w 2504874"/>
                  <a:gd name="connsiteY4" fmla="*/ 355060 h 1532106"/>
                  <a:gd name="connsiteX5" fmla="*/ 1084634 w 2504874"/>
                  <a:gd name="connsiteY5" fmla="*/ 306422 h 1532106"/>
                  <a:gd name="connsiteX6" fmla="*/ 0 w 2504874"/>
                  <a:gd name="connsiteY6" fmla="*/ 1532106 h 1532106"/>
                  <a:gd name="connsiteX7" fmla="*/ 53503 w 2504874"/>
                  <a:gd name="connsiteY7" fmla="*/ 982494 h 1532106"/>
                  <a:gd name="connsiteX0" fmla="*/ 53503 w 2504874"/>
                  <a:gd name="connsiteY0" fmla="*/ 982494 h 1532106"/>
                  <a:gd name="connsiteX1" fmla="*/ 943584 w 2504874"/>
                  <a:gd name="connsiteY1" fmla="*/ 9727 h 1532106"/>
                  <a:gd name="connsiteX2" fmla="*/ 1600201 w 2504874"/>
                  <a:gd name="connsiteY2" fmla="*/ 0 h 1532106"/>
                  <a:gd name="connsiteX3" fmla="*/ 2504874 w 2504874"/>
                  <a:gd name="connsiteY3" fmla="*/ 131323 h 1532106"/>
                  <a:gd name="connsiteX4" fmla="*/ 1502924 w 2504874"/>
                  <a:gd name="connsiteY4" fmla="*/ 355060 h 1532106"/>
                  <a:gd name="connsiteX5" fmla="*/ 1084634 w 2504874"/>
                  <a:gd name="connsiteY5" fmla="*/ 306422 h 1532106"/>
                  <a:gd name="connsiteX6" fmla="*/ 252920 w 2504874"/>
                  <a:gd name="connsiteY6" fmla="*/ 1245141 h 1532106"/>
                  <a:gd name="connsiteX7" fmla="*/ 0 w 2504874"/>
                  <a:gd name="connsiteY7" fmla="*/ 1532106 h 1532106"/>
                  <a:gd name="connsiteX8" fmla="*/ 53503 w 2504874"/>
                  <a:gd name="connsiteY8" fmla="*/ 982494 h 1532106"/>
                  <a:gd name="connsiteX0" fmla="*/ 53503 w 2504874"/>
                  <a:gd name="connsiteY0" fmla="*/ 982494 h 1532106"/>
                  <a:gd name="connsiteX1" fmla="*/ 943584 w 2504874"/>
                  <a:gd name="connsiteY1" fmla="*/ 9727 h 1532106"/>
                  <a:gd name="connsiteX2" fmla="*/ 1600201 w 2504874"/>
                  <a:gd name="connsiteY2" fmla="*/ 0 h 1532106"/>
                  <a:gd name="connsiteX3" fmla="*/ 2504874 w 2504874"/>
                  <a:gd name="connsiteY3" fmla="*/ 131323 h 1532106"/>
                  <a:gd name="connsiteX4" fmla="*/ 1502924 w 2504874"/>
                  <a:gd name="connsiteY4" fmla="*/ 355060 h 1532106"/>
                  <a:gd name="connsiteX5" fmla="*/ 1084634 w 2504874"/>
                  <a:gd name="connsiteY5" fmla="*/ 306422 h 1532106"/>
                  <a:gd name="connsiteX6" fmla="*/ 355060 w 2504874"/>
                  <a:gd name="connsiteY6" fmla="*/ 1425102 h 1532106"/>
                  <a:gd name="connsiteX7" fmla="*/ 0 w 2504874"/>
                  <a:gd name="connsiteY7" fmla="*/ 1532106 h 1532106"/>
                  <a:gd name="connsiteX8" fmla="*/ 53503 w 2504874"/>
                  <a:gd name="connsiteY8" fmla="*/ 982494 h 1532106"/>
                  <a:gd name="connsiteX0" fmla="*/ 53503 w 2504874"/>
                  <a:gd name="connsiteY0" fmla="*/ 982494 h 1532106"/>
                  <a:gd name="connsiteX1" fmla="*/ 943584 w 2504874"/>
                  <a:gd name="connsiteY1" fmla="*/ 9727 h 1532106"/>
                  <a:gd name="connsiteX2" fmla="*/ 1600201 w 2504874"/>
                  <a:gd name="connsiteY2" fmla="*/ 0 h 1532106"/>
                  <a:gd name="connsiteX3" fmla="*/ 2504874 w 2504874"/>
                  <a:gd name="connsiteY3" fmla="*/ 131323 h 1532106"/>
                  <a:gd name="connsiteX4" fmla="*/ 1502924 w 2504874"/>
                  <a:gd name="connsiteY4" fmla="*/ 355060 h 1532106"/>
                  <a:gd name="connsiteX5" fmla="*/ 1084634 w 2504874"/>
                  <a:gd name="connsiteY5" fmla="*/ 306422 h 1532106"/>
                  <a:gd name="connsiteX6" fmla="*/ 355060 w 2504874"/>
                  <a:gd name="connsiteY6" fmla="*/ 1118680 h 1532106"/>
                  <a:gd name="connsiteX7" fmla="*/ 0 w 2504874"/>
                  <a:gd name="connsiteY7" fmla="*/ 1532106 h 1532106"/>
                  <a:gd name="connsiteX8" fmla="*/ 53503 w 2504874"/>
                  <a:gd name="connsiteY8" fmla="*/ 982494 h 1532106"/>
                  <a:gd name="connsiteX0" fmla="*/ 93644 w 2545015"/>
                  <a:gd name="connsiteY0" fmla="*/ 982494 h 1532106"/>
                  <a:gd name="connsiteX1" fmla="*/ 983725 w 2545015"/>
                  <a:gd name="connsiteY1" fmla="*/ 9727 h 1532106"/>
                  <a:gd name="connsiteX2" fmla="*/ 1640342 w 2545015"/>
                  <a:gd name="connsiteY2" fmla="*/ 0 h 1532106"/>
                  <a:gd name="connsiteX3" fmla="*/ 2545015 w 2545015"/>
                  <a:gd name="connsiteY3" fmla="*/ 131323 h 1532106"/>
                  <a:gd name="connsiteX4" fmla="*/ 1543065 w 2545015"/>
                  <a:gd name="connsiteY4" fmla="*/ 355060 h 1532106"/>
                  <a:gd name="connsiteX5" fmla="*/ 1124775 w 2545015"/>
                  <a:gd name="connsiteY5" fmla="*/ 306422 h 1532106"/>
                  <a:gd name="connsiteX6" fmla="*/ 395201 w 2545015"/>
                  <a:gd name="connsiteY6" fmla="*/ 1118680 h 1532106"/>
                  <a:gd name="connsiteX7" fmla="*/ 40141 w 2545015"/>
                  <a:gd name="connsiteY7" fmla="*/ 1532106 h 1532106"/>
                  <a:gd name="connsiteX8" fmla="*/ 93644 w 2545015"/>
                  <a:gd name="connsiteY8" fmla="*/ 982494 h 1532106"/>
                  <a:gd name="connsiteX0" fmla="*/ 96072 w 2547443"/>
                  <a:gd name="connsiteY0" fmla="*/ 982494 h 1532106"/>
                  <a:gd name="connsiteX1" fmla="*/ 986153 w 2547443"/>
                  <a:gd name="connsiteY1" fmla="*/ 9727 h 1532106"/>
                  <a:gd name="connsiteX2" fmla="*/ 1642770 w 2547443"/>
                  <a:gd name="connsiteY2" fmla="*/ 0 h 1532106"/>
                  <a:gd name="connsiteX3" fmla="*/ 2547443 w 2547443"/>
                  <a:gd name="connsiteY3" fmla="*/ 131323 h 1532106"/>
                  <a:gd name="connsiteX4" fmla="*/ 1545493 w 2547443"/>
                  <a:gd name="connsiteY4" fmla="*/ 355060 h 1532106"/>
                  <a:gd name="connsiteX5" fmla="*/ 1127203 w 2547443"/>
                  <a:gd name="connsiteY5" fmla="*/ 306422 h 1532106"/>
                  <a:gd name="connsiteX6" fmla="*/ 397629 w 2547443"/>
                  <a:gd name="connsiteY6" fmla="*/ 1118680 h 1532106"/>
                  <a:gd name="connsiteX7" fmla="*/ 42569 w 2547443"/>
                  <a:gd name="connsiteY7" fmla="*/ 1532106 h 1532106"/>
                  <a:gd name="connsiteX8" fmla="*/ 96072 w 2547443"/>
                  <a:gd name="connsiteY8" fmla="*/ 982494 h 1532106"/>
                  <a:gd name="connsiteX0" fmla="*/ 96072 w 2547443"/>
                  <a:gd name="connsiteY0" fmla="*/ 982494 h 1677790"/>
                  <a:gd name="connsiteX1" fmla="*/ 986153 w 2547443"/>
                  <a:gd name="connsiteY1" fmla="*/ 9727 h 1677790"/>
                  <a:gd name="connsiteX2" fmla="*/ 1642770 w 2547443"/>
                  <a:gd name="connsiteY2" fmla="*/ 0 h 1677790"/>
                  <a:gd name="connsiteX3" fmla="*/ 2547443 w 2547443"/>
                  <a:gd name="connsiteY3" fmla="*/ 131323 h 1677790"/>
                  <a:gd name="connsiteX4" fmla="*/ 1545493 w 2547443"/>
                  <a:gd name="connsiteY4" fmla="*/ 355060 h 1677790"/>
                  <a:gd name="connsiteX5" fmla="*/ 1127203 w 2547443"/>
                  <a:gd name="connsiteY5" fmla="*/ 306422 h 1677790"/>
                  <a:gd name="connsiteX6" fmla="*/ 397629 w 2547443"/>
                  <a:gd name="connsiteY6" fmla="*/ 1118680 h 1677790"/>
                  <a:gd name="connsiteX7" fmla="*/ 42569 w 2547443"/>
                  <a:gd name="connsiteY7" fmla="*/ 1532106 h 1677790"/>
                  <a:gd name="connsiteX8" fmla="*/ 96072 w 2547443"/>
                  <a:gd name="connsiteY8" fmla="*/ 982494 h 1677790"/>
                  <a:gd name="connsiteX0" fmla="*/ 96072 w 2547443"/>
                  <a:gd name="connsiteY0" fmla="*/ 982494 h 1552660"/>
                  <a:gd name="connsiteX1" fmla="*/ 986153 w 2547443"/>
                  <a:gd name="connsiteY1" fmla="*/ 9727 h 1552660"/>
                  <a:gd name="connsiteX2" fmla="*/ 1642770 w 2547443"/>
                  <a:gd name="connsiteY2" fmla="*/ 0 h 1552660"/>
                  <a:gd name="connsiteX3" fmla="*/ 2547443 w 2547443"/>
                  <a:gd name="connsiteY3" fmla="*/ 131323 h 1552660"/>
                  <a:gd name="connsiteX4" fmla="*/ 1545493 w 2547443"/>
                  <a:gd name="connsiteY4" fmla="*/ 355060 h 1552660"/>
                  <a:gd name="connsiteX5" fmla="*/ 1127203 w 2547443"/>
                  <a:gd name="connsiteY5" fmla="*/ 306422 h 1552660"/>
                  <a:gd name="connsiteX6" fmla="*/ 397629 w 2547443"/>
                  <a:gd name="connsiteY6" fmla="*/ 1118680 h 1552660"/>
                  <a:gd name="connsiteX7" fmla="*/ 344128 w 2547443"/>
                  <a:gd name="connsiteY7" fmla="*/ 1405647 h 1552660"/>
                  <a:gd name="connsiteX8" fmla="*/ 42569 w 2547443"/>
                  <a:gd name="connsiteY8" fmla="*/ 1532106 h 1552660"/>
                  <a:gd name="connsiteX9" fmla="*/ 96072 w 2547443"/>
                  <a:gd name="connsiteY9" fmla="*/ 982494 h 1552660"/>
                  <a:gd name="connsiteX0" fmla="*/ 96072 w 2547443"/>
                  <a:gd name="connsiteY0" fmla="*/ 982494 h 1554370"/>
                  <a:gd name="connsiteX1" fmla="*/ 986153 w 2547443"/>
                  <a:gd name="connsiteY1" fmla="*/ 9727 h 1554370"/>
                  <a:gd name="connsiteX2" fmla="*/ 1642770 w 2547443"/>
                  <a:gd name="connsiteY2" fmla="*/ 0 h 1554370"/>
                  <a:gd name="connsiteX3" fmla="*/ 2547443 w 2547443"/>
                  <a:gd name="connsiteY3" fmla="*/ 131323 h 1554370"/>
                  <a:gd name="connsiteX4" fmla="*/ 1545493 w 2547443"/>
                  <a:gd name="connsiteY4" fmla="*/ 355060 h 1554370"/>
                  <a:gd name="connsiteX5" fmla="*/ 1127203 w 2547443"/>
                  <a:gd name="connsiteY5" fmla="*/ 306422 h 1554370"/>
                  <a:gd name="connsiteX6" fmla="*/ 397629 w 2547443"/>
                  <a:gd name="connsiteY6" fmla="*/ 1118680 h 1554370"/>
                  <a:gd name="connsiteX7" fmla="*/ 378175 w 2547443"/>
                  <a:gd name="connsiteY7" fmla="*/ 1420238 h 1554370"/>
                  <a:gd name="connsiteX8" fmla="*/ 42569 w 2547443"/>
                  <a:gd name="connsiteY8" fmla="*/ 1532106 h 1554370"/>
                  <a:gd name="connsiteX9" fmla="*/ 96072 w 2547443"/>
                  <a:gd name="connsiteY9" fmla="*/ 982494 h 1554370"/>
                  <a:gd name="connsiteX0" fmla="*/ 96072 w 2547443"/>
                  <a:gd name="connsiteY0" fmla="*/ 982494 h 1554370"/>
                  <a:gd name="connsiteX1" fmla="*/ 986153 w 2547443"/>
                  <a:gd name="connsiteY1" fmla="*/ 9727 h 1554370"/>
                  <a:gd name="connsiteX2" fmla="*/ 1642770 w 2547443"/>
                  <a:gd name="connsiteY2" fmla="*/ 0 h 1554370"/>
                  <a:gd name="connsiteX3" fmla="*/ 2547443 w 2547443"/>
                  <a:gd name="connsiteY3" fmla="*/ 131323 h 1554370"/>
                  <a:gd name="connsiteX4" fmla="*/ 1545493 w 2547443"/>
                  <a:gd name="connsiteY4" fmla="*/ 355060 h 1554370"/>
                  <a:gd name="connsiteX5" fmla="*/ 1127203 w 2547443"/>
                  <a:gd name="connsiteY5" fmla="*/ 306422 h 1554370"/>
                  <a:gd name="connsiteX6" fmla="*/ 397629 w 2547443"/>
                  <a:gd name="connsiteY6" fmla="*/ 1118680 h 1554370"/>
                  <a:gd name="connsiteX7" fmla="*/ 378175 w 2547443"/>
                  <a:gd name="connsiteY7" fmla="*/ 1420238 h 1554370"/>
                  <a:gd name="connsiteX8" fmla="*/ 42569 w 2547443"/>
                  <a:gd name="connsiteY8" fmla="*/ 1532106 h 1554370"/>
                  <a:gd name="connsiteX9" fmla="*/ 96072 w 2547443"/>
                  <a:gd name="connsiteY9" fmla="*/ 982494 h 1554370"/>
                  <a:gd name="connsiteX0" fmla="*/ 96072 w 2547443"/>
                  <a:gd name="connsiteY0" fmla="*/ 982494 h 1554370"/>
                  <a:gd name="connsiteX1" fmla="*/ 986153 w 2547443"/>
                  <a:gd name="connsiteY1" fmla="*/ 9727 h 1554370"/>
                  <a:gd name="connsiteX2" fmla="*/ 1642770 w 2547443"/>
                  <a:gd name="connsiteY2" fmla="*/ 0 h 1554370"/>
                  <a:gd name="connsiteX3" fmla="*/ 2547443 w 2547443"/>
                  <a:gd name="connsiteY3" fmla="*/ 131323 h 1554370"/>
                  <a:gd name="connsiteX4" fmla="*/ 1545493 w 2547443"/>
                  <a:gd name="connsiteY4" fmla="*/ 355060 h 1554370"/>
                  <a:gd name="connsiteX5" fmla="*/ 1127203 w 2547443"/>
                  <a:gd name="connsiteY5" fmla="*/ 306422 h 1554370"/>
                  <a:gd name="connsiteX6" fmla="*/ 397629 w 2547443"/>
                  <a:gd name="connsiteY6" fmla="*/ 1118680 h 1554370"/>
                  <a:gd name="connsiteX7" fmla="*/ 378175 w 2547443"/>
                  <a:gd name="connsiteY7" fmla="*/ 1420238 h 1554370"/>
                  <a:gd name="connsiteX8" fmla="*/ 42569 w 2547443"/>
                  <a:gd name="connsiteY8" fmla="*/ 1532106 h 1554370"/>
                  <a:gd name="connsiteX9" fmla="*/ 96072 w 2547443"/>
                  <a:gd name="connsiteY9" fmla="*/ 982494 h 1554370"/>
                  <a:gd name="connsiteX0" fmla="*/ 96072 w 2547443"/>
                  <a:gd name="connsiteY0" fmla="*/ 982494 h 1572098"/>
                  <a:gd name="connsiteX1" fmla="*/ 986153 w 2547443"/>
                  <a:gd name="connsiteY1" fmla="*/ 9727 h 1572098"/>
                  <a:gd name="connsiteX2" fmla="*/ 1642770 w 2547443"/>
                  <a:gd name="connsiteY2" fmla="*/ 0 h 1572098"/>
                  <a:gd name="connsiteX3" fmla="*/ 2547443 w 2547443"/>
                  <a:gd name="connsiteY3" fmla="*/ 131323 h 1572098"/>
                  <a:gd name="connsiteX4" fmla="*/ 1545493 w 2547443"/>
                  <a:gd name="connsiteY4" fmla="*/ 355060 h 1572098"/>
                  <a:gd name="connsiteX5" fmla="*/ 1127203 w 2547443"/>
                  <a:gd name="connsiteY5" fmla="*/ 306422 h 1572098"/>
                  <a:gd name="connsiteX6" fmla="*/ 397629 w 2547443"/>
                  <a:gd name="connsiteY6" fmla="*/ 1118680 h 1572098"/>
                  <a:gd name="connsiteX7" fmla="*/ 378175 w 2547443"/>
                  <a:gd name="connsiteY7" fmla="*/ 1420238 h 1572098"/>
                  <a:gd name="connsiteX8" fmla="*/ 246851 w 2547443"/>
                  <a:gd name="connsiteY8" fmla="*/ 1517516 h 1572098"/>
                  <a:gd name="connsiteX9" fmla="*/ 42569 w 2547443"/>
                  <a:gd name="connsiteY9" fmla="*/ 1532106 h 1572098"/>
                  <a:gd name="connsiteX10" fmla="*/ 96072 w 2547443"/>
                  <a:gd name="connsiteY10" fmla="*/ 982494 h 1572098"/>
                  <a:gd name="connsiteX0" fmla="*/ 96072 w 2547443"/>
                  <a:gd name="connsiteY0" fmla="*/ 982494 h 2135699"/>
                  <a:gd name="connsiteX1" fmla="*/ 986153 w 2547443"/>
                  <a:gd name="connsiteY1" fmla="*/ 9727 h 2135699"/>
                  <a:gd name="connsiteX2" fmla="*/ 1642770 w 2547443"/>
                  <a:gd name="connsiteY2" fmla="*/ 0 h 2135699"/>
                  <a:gd name="connsiteX3" fmla="*/ 2547443 w 2547443"/>
                  <a:gd name="connsiteY3" fmla="*/ 131323 h 2135699"/>
                  <a:gd name="connsiteX4" fmla="*/ 1545493 w 2547443"/>
                  <a:gd name="connsiteY4" fmla="*/ 355060 h 2135699"/>
                  <a:gd name="connsiteX5" fmla="*/ 1127203 w 2547443"/>
                  <a:gd name="connsiteY5" fmla="*/ 306422 h 2135699"/>
                  <a:gd name="connsiteX6" fmla="*/ 397629 w 2547443"/>
                  <a:gd name="connsiteY6" fmla="*/ 1118680 h 2135699"/>
                  <a:gd name="connsiteX7" fmla="*/ 378175 w 2547443"/>
                  <a:gd name="connsiteY7" fmla="*/ 1420238 h 2135699"/>
                  <a:gd name="connsiteX8" fmla="*/ 694323 w 2547443"/>
                  <a:gd name="connsiteY8" fmla="*/ 2135222 h 2135699"/>
                  <a:gd name="connsiteX9" fmla="*/ 42569 w 2547443"/>
                  <a:gd name="connsiteY9" fmla="*/ 1532106 h 2135699"/>
                  <a:gd name="connsiteX10" fmla="*/ 96072 w 2547443"/>
                  <a:gd name="connsiteY10" fmla="*/ 982494 h 2135699"/>
                  <a:gd name="connsiteX0" fmla="*/ 96072 w 2547443"/>
                  <a:gd name="connsiteY0" fmla="*/ 982494 h 2694798"/>
                  <a:gd name="connsiteX1" fmla="*/ 986153 w 2547443"/>
                  <a:gd name="connsiteY1" fmla="*/ 9727 h 2694798"/>
                  <a:gd name="connsiteX2" fmla="*/ 1642770 w 2547443"/>
                  <a:gd name="connsiteY2" fmla="*/ 0 h 2694798"/>
                  <a:gd name="connsiteX3" fmla="*/ 2547443 w 2547443"/>
                  <a:gd name="connsiteY3" fmla="*/ 131323 h 2694798"/>
                  <a:gd name="connsiteX4" fmla="*/ 1545493 w 2547443"/>
                  <a:gd name="connsiteY4" fmla="*/ 355060 h 2694798"/>
                  <a:gd name="connsiteX5" fmla="*/ 1127203 w 2547443"/>
                  <a:gd name="connsiteY5" fmla="*/ 306422 h 2694798"/>
                  <a:gd name="connsiteX6" fmla="*/ 397629 w 2547443"/>
                  <a:gd name="connsiteY6" fmla="*/ 1118680 h 2694798"/>
                  <a:gd name="connsiteX7" fmla="*/ 378175 w 2547443"/>
                  <a:gd name="connsiteY7" fmla="*/ 1420238 h 2694798"/>
                  <a:gd name="connsiteX8" fmla="*/ 694323 w 2547443"/>
                  <a:gd name="connsiteY8" fmla="*/ 2694562 h 2694798"/>
                  <a:gd name="connsiteX9" fmla="*/ 42569 w 2547443"/>
                  <a:gd name="connsiteY9" fmla="*/ 1532106 h 2694798"/>
                  <a:gd name="connsiteX10" fmla="*/ 96072 w 2547443"/>
                  <a:gd name="connsiteY10" fmla="*/ 982494 h 2694798"/>
                  <a:gd name="connsiteX0" fmla="*/ 96072 w 2547443"/>
                  <a:gd name="connsiteY0" fmla="*/ 982494 h 2765238"/>
                  <a:gd name="connsiteX1" fmla="*/ 986153 w 2547443"/>
                  <a:gd name="connsiteY1" fmla="*/ 9727 h 2765238"/>
                  <a:gd name="connsiteX2" fmla="*/ 1642770 w 2547443"/>
                  <a:gd name="connsiteY2" fmla="*/ 0 h 2765238"/>
                  <a:gd name="connsiteX3" fmla="*/ 2547443 w 2547443"/>
                  <a:gd name="connsiteY3" fmla="*/ 131323 h 2765238"/>
                  <a:gd name="connsiteX4" fmla="*/ 1545493 w 2547443"/>
                  <a:gd name="connsiteY4" fmla="*/ 355060 h 2765238"/>
                  <a:gd name="connsiteX5" fmla="*/ 1127203 w 2547443"/>
                  <a:gd name="connsiteY5" fmla="*/ 306422 h 2765238"/>
                  <a:gd name="connsiteX6" fmla="*/ 397629 w 2547443"/>
                  <a:gd name="connsiteY6" fmla="*/ 1118680 h 2765238"/>
                  <a:gd name="connsiteX7" fmla="*/ 378175 w 2547443"/>
                  <a:gd name="connsiteY7" fmla="*/ 1420238 h 2765238"/>
                  <a:gd name="connsiteX8" fmla="*/ 660277 w 2547443"/>
                  <a:gd name="connsiteY8" fmla="*/ 2504872 h 2765238"/>
                  <a:gd name="connsiteX9" fmla="*/ 694323 w 2547443"/>
                  <a:gd name="connsiteY9" fmla="*/ 2694562 h 2765238"/>
                  <a:gd name="connsiteX10" fmla="*/ 42569 w 2547443"/>
                  <a:gd name="connsiteY10" fmla="*/ 1532106 h 2765238"/>
                  <a:gd name="connsiteX11" fmla="*/ 96072 w 2547443"/>
                  <a:gd name="connsiteY11" fmla="*/ 982494 h 2765238"/>
                  <a:gd name="connsiteX0" fmla="*/ 96072 w 2547443"/>
                  <a:gd name="connsiteY0" fmla="*/ 982494 h 2765238"/>
                  <a:gd name="connsiteX1" fmla="*/ 986153 w 2547443"/>
                  <a:gd name="connsiteY1" fmla="*/ 9727 h 2765238"/>
                  <a:gd name="connsiteX2" fmla="*/ 1642770 w 2547443"/>
                  <a:gd name="connsiteY2" fmla="*/ 0 h 2765238"/>
                  <a:gd name="connsiteX3" fmla="*/ 2547443 w 2547443"/>
                  <a:gd name="connsiteY3" fmla="*/ 131323 h 2765238"/>
                  <a:gd name="connsiteX4" fmla="*/ 1545493 w 2547443"/>
                  <a:gd name="connsiteY4" fmla="*/ 355060 h 2765238"/>
                  <a:gd name="connsiteX5" fmla="*/ 1127203 w 2547443"/>
                  <a:gd name="connsiteY5" fmla="*/ 306422 h 2765238"/>
                  <a:gd name="connsiteX6" fmla="*/ 397629 w 2547443"/>
                  <a:gd name="connsiteY6" fmla="*/ 1118680 h 2765238"/>
                  <a:gd name="connsiteX7" fmla="*/ 378175 w 2547443"/>
                  <a:gd name="connsiteY7" fmla="*/ 1420238 h 2765238"/>
                  <a:gd name="connsiteX8" fmla="*/ 913196 w 2547443"/>
                  <a:gd name="connsiteY8" fmla="*/ 2504872 h 2765238"/>
                  <a:gd name="connsiteX9" fmla="*/ 694323 w 2547443"/>
                  <a:gd name="connsiteY9" fmla="*/ 2694562 h 2765238"/>
                  <a:gd name="connsiteX10" fmla="*/ 42569 w 2547443"/>
                  <a:gd name="connsiteY10" fmla="*/ 1532106 h 2765238"/>
                  <a:gd name="connsiteX11" fmla="*/ 96072 w 2547443"/>
                  <a:gd name="connsiteY11" fmla="*/ 982494 h 2765238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621366 w 2547443"/>
                  <a:gd name="connsiteY8" fmla="*/ 192121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569 w 2547443"/>
                  <a:gd name="connsiteY11" fmla="*/ 1532106 h 2751446"/>
                  <a:gd name="connsiteX12" fmla="*/ 96072 w 2547443"/>
                  <a:gd name="connsiteY12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569 w 2547443"/>
                  <a:gd name="connsiteY11" fmla="*/ 1532106 h 2751446"/>
                  <a:gd name="connsiteX12" fmla="*/ 96072 w 2547443"/>
                  <a:gd name="connsiteY12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569 w 2547443"/>
                  <a:gd name="connsiteY11" fmla="*/ 1532106 h 2751446"/>
                  <a:gd name="connsiteX12" fmla="*/ 96072 w 2547443"/>
                  <a:gd name="connsiteY12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569 w 2547443"/>
                  <a:gd name="connsiteY11" fmla="*/ 1532106 h 2751446"/>
                  <a:gd name="connsiteX12" fmla="*/ 96072 w 2547443"/>
                  <a:gd name="connsiteY12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569 w 2547443"/>
                  <a:gd name="connsiteY11" fmla="*/ 1532106 h 2751446"/>
                  <a:gd name="connsiteX12" fmla="*/ 96072 w 2547443"/>
                  <a:gd name="connsiteY12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383039 w 2547443"/>
                  <a:gd name="connsiteY11" fmla="*/ 2178995 h 2751446"/>
                  <a:gd name="connsiteX12" fmla="*/ 42569 w 2547443"/>
                  <a:gd name="connsiteY12" fmla="*/ 1532106 h 2751446"/>
                  <a:gd name="connsiteX13" fmla="*/ 96072 w 2547443"/>
                  <a:gd name="connsiteY13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6814 w 2547443"/>
                  <a:gd name="connsiteY11" fmla="*/ 1969851 h 2751446"/>
                  <a:gd name="connsiteX12" fmla="*/ 42569 w 2547443"/>
                  <a:gd name="connsiteY12" fmla="*/ 1532106 h 2751446"/>
                  <a:gd name="connsiteX13" fmla="*/ 96072 w 2547443"/>
                  <a:gd name="connsiteY13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6814 w 2547443"/>
                  <a:gd name="connsiteY11" fmla="*/ 1969851 h 2751446"/>
                  <a:gd name="connsiteX12" fmla="*/ 42569 w 2547443"/>
                  <a:gd name="connsiteY12" fmla="*/ 1532106 h 2751446"/>
                  <a:gd name="connsiteX13" fmla="*/ 96072 w 2547443"/>
                  <a:gd name="connsiteY13" fmla="*/ 982494 h 2751446"/>
                  <a:gd name="connsiteX0" fmla="*/ 96072 w 2547443"/>
                  <a:gd name="connsiteY0" fmla="*/ 982494 h 2751446"/>
                  <a:gd name="connsiteX1" fmla="*/ 986153 w 2547443"/>
                  <a:gd name="connsiteY1" fmla="*/ 9727 h 2751446"/>
                  <a:gd name="connsiteX2" fmla="*/ 1642770 w 2547443"/>
                  <a:gd name="connsiteY2" fmla="*/ 0 h 2751446"/>
                  <a:gd name="connsiteX3" fmla="*/ 2547443 w 2547443"/>
                  <a:gd name="connsiteY3" fmla="*/ 131323 h 2751446"/>
                  <a:gd name="connsiteX4" fmla="*/ 1545493 w 2547443"/>
                  <a:gd name="connsiteY4" fmla="*/ 355060 h 2751446"/>
                  <a:gd name="connsiteX5" fmla="*/ 1127203 w 2547443"/>
                  <a:gd name="connsiteY5" fmla="*/ 306422 h 2751446"/>
                  <a:gd name="connsiteX6" fmla="*/ 397629 w 2547443"/>
                  <a:gd name="connsiteY6" fmla="*/ 1118680 h 2751446"/>
                  <a:gd name="connsiteX7" fmla="*/ 378175 w 2547443"/>
                  <a:gd name="connsiteY7" fmla="*/ 1420238 h 2751446"/>
                  <a:gd name="connsiteX8" fmla="*/ 738098 w 2547443"/>
                  <a:gd name="connsiteY8" fmla="*/ 1819072 h 2751446"/>
                  <a:gd name="connsiteX9" fmla="*/ 913196 w 2547443"/>
                  <a:gd name="connsiteY9" fmla="*/ 2504872 h 2751446"/>
                  <a:gd name="connsiteX10" fmla="*/ 694323 w 2547443"/>
                  <a:gd name="connsiteY10" fmla="*/ 2694562 h 2751446"/>
                  <a:gd name="connsiteX11" fmla="*/ 426814 w 2547443"/>
                  <a:gd name="connsiteY11" fmla="*/ 1969851 h 2751446"/>
                  <a:gd name="connsiteX12" fmla="*/ 42569 w 2547443"/>
                  <a:gd name="connsiteY12" fmla="*/ 1532106 h 2751446"/>
                  <a:gd name="connsiteX13" fmla="*/ 96072 w 2547443"/>
                  <a:gd name="connsiteY13" fmla="*/ 982494 h 2751446"/>
                  <a:gd name="connsiteX0" fmla="*/ 99995 w 2551366"/>
                  <a:gd name="connsiteY0" fmla="*/ 982494 h 2751446"/>
                  <a:gd name="connsiteX1" fmla="*/ 990076 w 2551366"/>
                  <a:gd name="connsiteY1" fmla="*/ 9727 h 2751446"/>
                  <a:gd name="connsiteX2" fmla="*/ 1646693 w 2551366"/>
                  <a:gd name="connsiteY2" fmla="*/ 0 h 2751446"/>
                  <a:gd name="connsiteX3" fmla="*/ 2551366 w 2551366"/>
                  <a:gd name="connsiteY3" fmla="*/ 131323 h 2751446"/>
                  <a:gd name="connsiteX4" fmla="*/ 1549416 w 2551366"/>
                  <a:gd name="connsiteY4" fmla="*/ 355060 h 2751446"/>
                  <a:gd name="connsiteX5" fmla="*/ 1131126 w 2551366"/>
                  <a:gd name="connsiteY5" fmla="*/ 306422 h 2751446"/>
                  <a:gd name="connsiteX6" fmla="*/ 401552 w 2551366"/>
                  <a:gd name="connsiteY6" fmla="*/ 1118680 h 2751446"/>
                  <a:gd name="connsiteX7" fmla="*/ 382098 w 2551366"/>
                  <a:gd name="connsiteY7" fmla="*/ 1420238 h 2751446"/>
                  <a:gd name="connsiteX8" fmla="*/ 742021 w 2551366"/>
                  <a:gd name="connsiteY8" fmla="*/ 1819072 h 2751446"/>
                  <a:gd name="connsiteX9" fmla="*/ 917119 w 2551366"/>
                  <a:gd name="connsiteY9" fmla="*/ 2504872 h 2751446"/>
                  <a:gd name="connsiteX10" fmla="*/ 698246 w 2551366"/>
                  <a:gd name="connsiteY10" fmla="*/ 2694562 h 2751446"/>
                  <a:gd name="connsiteX11" fmla="*/ 430737 w 2551366"/>
                  <a:gd name="connsiteY11" fmla="*/ 1969851 h 2751446"/>
                  <a:gd name="connsiteX12" fmla="*/ 41628 w 2551366"/>
                  <a:gd name="connsiteY12" fmla="*/ 1493195 h 2751446"/>
                  <a:gd name="connsiteX13" fmla="*/ 99995 w 2551366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47743 w 2568372"/>
                  <a:gd name="connsiteY11" fmla="*/ 1969851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47743 w 2568372"/>
                  <a:gd name="connsiteY11" fmla="*/ 1969851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72062 w 2568372"/>
                  <a:gd name="connsiteY11" fmla="*/ 1935804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72062 w 2568372"/>
                  <a:gd name="connsiteY11" fmla="*/ 1935804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52606 w 2568372"/>
                  <a:gd name="connsiteY11" fmla="*/ 1935804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52606 w 2568372"/>
                  <a:gd name="connsiteY11" fmla="*/ 1935804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51446"/>
                  <a:gd name="connsiteX1" fmla="*/ 1007082 w 2568372"/>
                  <a:gd name="connsiteY1" fmla="*/ 9727 h 2751446"/>
                  <a:gd name="connsiteX2" fmla="*/ 1663699 w 2568372"/>
                  <a:gd name="connsiteY2" fmla="*/ 0 h 2751446"/>
                  <a:gd name="connsiteX3" fmla="*/ 2568372 w 2568372"/>
                  <a:gd name="connsiteY3" fmla="*/ 131323 h 2751446"/>
                  <a:gd name="connsiteX4" fmla="*/ 1566422 w 2568372"/>
                  <a:gd name="connsiteY4" fmla="*/ 355060 h 2751446"/>
                  <a:gd name="connsiteX5" fmla="*/ 1148132 w 2568372"/>
                  <a:gd name="connsiteY5" fmla="*/ 306422 h 2751446"/>
                  <a:gd name="connsiteX6" fmla="*/ 418558 w 2568372"/>
                  <a:gd name="connsiteY6" fmla="*/ 1118680 h 2751446"/>
                  <a:gd name="connsiteX7" fmla="*/ 399104 w 2568372"/>
                  <a:gd name="connsiteY7" fmla="*/ 1420238 h 2751446"/>
                  <a:gd name="connsiteX8" fmla="*/ 759027 w 2568372"/>
                  <a:gd name="connsiteY8" fmla="*/ 1819072 h 2751446"/>
                  <a:gd name="connsiteX9" fmla="*/ 934125 w 2568372"/>
                  <a:gd name="connsiteY9" fmla="*/ 2504872 h 2751446"/>
                  <a:gd name="connsiteX10" fmla="*/ 715252 w 2568372"/>
                  <a:gd name="connsiteY10" fmla="*/ 2694562 h 2751446"/>
                  <a:gd name="connsiteX11" fmla="*/ 452606 w 2568372"/>
                  <a:gd name="connsiteY11" fmla="*/ 1935804 h 2751446"/>
                  <a:gd name="connsiteX12" fmla="*/ 58634 w 2568372"/>
                  <a:gd name="connsiteY12" fmla="*/ 1493195 h 2751446"/>
                  <a:gd name="connsiteX13" fmla="*/ 117001 w 2568372"/>
                  <a:gd name="connsiteY13" fmla="*/ 982494 h 2751446"/>
                  <a:gd name="connsiteX0" fmla="*/ 117001 w 2568372"/>
                  <a:gd name="connsiteY0" fmla="*/ 982494 h 2708634"/>
                  <a:gd name="connsiteX1" fmla="*/ 1007082 w 2568372"/>
                  <a:gd name="connsiteY1" fmla="*/ 9727 h 2708634"/>
                  <a:gd name="connsiteX2" fmla="*/ 1663699 w 2568372"/>
                  <a:gd name="connsiteY2" fmla="*/ 0 h 2708634"/>
                  <a:gd name="connsiteX3" fmla="*/ 2568372 w 2568372"/>
                  <a:gd name="connsiteY3" fmla="*/ 131323 h 2708634"/>
                  <a:gd name="connsiteX4" fmla="*/ 1566422 w 2568372"/>
                  <a:gd name="connsiteY4" fmla="*/ 355060 h 2708634"/>
                  <a:gd name="connsiteX5" fmla="*/ 1148132 w 2568372"/>
                  <a:gd name="connsiteY5" fmla="*/ 306422 h 2708634"/>
                  <a:gd name="connsiteX6" fmla="*/ 418558 w 2568372"/>
                  <a:gd name="connsiteY6" fmla="*/ 1118680 h 2708634"/>
                  <a:gd name="connsiteX7" fmla="*/ 399104 w 2568372"/>
                  <a:gd name="connsiteY7" fmla="*/ 1420238 h 2708634"/>
                  <a:gd name="connsiteX8" fmla="*/ 759027 w 2568372"/>
                  <a:gd name="connsiteY8" fmla="*/ 1819072 h 2708634"/>
                  <a:gd name="connsiteX9" fmla="*/ 934125 w 2568372"/>
                  <a:gd name="connsiteY9" fmla="*/ 2504872 h 2708634"/>
                  <a:gd name="connsiteX10" fmla="*/ 715252 w 2568372"/>
                  <a:gd name="connsiteY10" fmla="*/ 2694562 h 2708634"/>
                  <a:gd name="connsiteX11" fmla="*/ 452606 w 2568372"/>
                  <a:gd name="connsiteY11" fmla="*/ 1935804 h 2708634"/>
                  <a:gd name="connsiteX12" fmla="*/ 58634 w 2568372"/>
                  <a:gd name="connsiteY12" fmla="*/ 1493195 h 2708634"/>
                  <a:gd name="connsiteX13" fmla="*/ 117001 w 2568372"/>
                  <a:gd name="connsiteY13" fmla="*/ 982494 h 2708634"/>
                  <a:gd name="connsiteX0" fmla="*/ 117001 w 2568372"/>
                  <a:gd name="connsiteY0" fmla="*/ 982494 h 2705878"/>
                  <a:gd name="connsiteX1" fmla="*/ 1007082 w 2568372"/>
                  <a:gd name="connsiteY1" fmla="*/ 9727 h 2705878"/>
                  <a:gd name="connsiteX2" fmla="*/ 1663699 w 2568372"/>
                  <a:gd name="connsiteY2" fmla="*/ 0 h 2705878"/>
                  <a:gd name="connsiteX3" fmla="*/ 2568372 w 2568372"/>
                  <a:gd name="connsiteY3" fmla="*/ 131323 h 2705878"/>
                  <a:gd name="connsiteX4" fmla="*/ 1566422 w 2568372"/>
                  <a:gd name="connsiteY4" fmla="*/ 355060 h 2705878"/>
                  <a:gd name="connsiteX5" fmla="*/ 1148132 w 2568372"/>
                  <a:gd name="connsiteY5" fmla="*/ 306422 h 2705878"/>
                  <a:gd name="connsiteX6" fmla="*/ 418558 w 2568372"/>
                  <a:gd name="connsiteY6" fmla="*/ 1118680 h 2705878"/>
                  <a:gd name="connsiteX7" fmla="*/ 399104 w 2568372"/>
                  <a:gd name="connsiteY7" fmla="*/ 1420238 h 2705878"/>
                  <a:gd name="connsiteX8" fmla="*/ 759027 w 2568372"/>
                  <a:gd name="connsiteY8" fmla="*/ 1819072 h 2705878"/>
                  <a:gd name="connsiteX9" fmla="*/ 934125 w 2568372"/>
                  <a:gd name="connsiteY9" fmla="*/ 2504872 h 2705878"/>
                  <a:gd name="connsiteX10" fmla="*/ 715252 w 2568372"/>
                  <a:gd name="connsiteY10" fmla="*/ 2694562 h 2705878"/>
                  <a:gd name="connsiteX11" fmla="*/ 452606 w 2568372"/>
                  <a:gd name="connsiteY11" fmla="*/ 1935804 h 2705878"/>
                  <a:gd name="connsiteX12" fmla="*/ 58634 w 2568372"/>
                  <a:gd name="connsiteY12" fmla="*/ 1493195 h 2705878"/>
                  <a:gd name="connsiteX13" fmla="*/ 117001 w 2568372"/>
                  <a:gd name="connsiteY13" fmla="*/ 982494 h 2705878"/>
                  <a:gd name="connsiteX0" fmla="*/ 117001 w 2568372"/>
                  <a:gd name="connsiteY0" fmla="*/ 982494 h 2705878"/>
                  <a:gd name="connsiteX1" fmla="*/ 1007082 w 2568372"/>
                  <a:gd name="connsiteY1" fmla="*/ 9727 h 2705878"/>
                  <a:gd name="connsiteX2" fmla="*/ 1663699 w 2568372"/>
                  <a:gd name="connsiteY2" fmla="*/ 0 h 2705878"/>
                  <a:gd name="connsiteX3" fmla="*/ 2568372 w 2568372"/>
                  <a:gd name="connsiteY3" fmla="*/ 131323 h 2705878"/>
                  <a:gd name="connsiteX4" fmla="*/ 1566422 w 2568372"/>
                  <a:gd name="connsiteY4" fmla="*/ 355060 h 2705878"/>
                  <a:gd name="connsiteX5" fmla="*/ 1148132 w 2568372"/>
                  <a:gd name="connsiteY5" fmla="*/ 306422 h 2705878"/>
                  <a:gd name="connsiteX6" fmla="*/ 418558 w 2568372"/>
                  <a:gd name="connsiteY6" fmla="*/ 1118680 h 2705878"/>
                  <a:gd name="connsiteX7" fmla="*/ 399104 w 2568372"/>
                  <a:gd name="connsiteY7" fmla="*/ 1420238 h 2705878"/>
                  <a:gd name="connsiteX8" fmla="*/ 768755 w 2568372"/>
                  <a:gd name="connsiteY8" fmla="*/ 1809344 h 2705878"/>
                  <a:gd name="connsiteX9" fmla="*/ 934125 w 2568372"/>
                  <a:gd name="connsiteY9" fmla="*/ 2504872 h 2705878"/>
                  <a:gd name="connsiteX10" fmla="*/ 715252 w 2568372"/>
                  <a:gd name="connsiteY10" fmla="*/ 2694562 h 2705878"/>
                  <a:gd name="connsiteX11" fmla="*/ 452606 w 2568372"/>
                  <a:gd name="connsiteY11" fmla="*/ 1935804 h 2705878"/>
                  <a:gd name="connsiteX12" fmla="*/ 58634 w 2568372"/>
                  <a:gd name="connsiteY12" fmla="*/ 1493195 h 2705878"/>
                  <a:gd name="connsiteX13" fmla="*/ 117001 w 2568372"/>
                  <a:gd name="connsiteY13" fmla="*/ 982494 h 2705878"/>
                  <a:gd name="connsiteX0" fmla="*/ 117001 w 2568372"/>
                  <a:gd name="connsiteY0" fmla="*/ 982494 h 2705878"/>
                  <a:gd name="connsiteX1" fmla="*/ 1007082 w 2568372"/>
                  <a:gd name="connsiteY1" fmla="*/ 9727 h 2705878"/>
                  <a:gd name="connsiteX2" fmla="*/ 1663699 w 2568372"/>
                  <a:gd name="connsiteY2" fmla="*/ 0 h 2705878"/>
                  <a:gd name="connsiteX3" fmla="*/ 2568372 w 2568372"/>
                  <a:gd name="connsiteY3" fmla="*/ 131323 h 2705878"/>
                  <a:gd name="connsiteX4" fmla="*/ 1566422 w 2568372"/>
                  <a:gd name="connsiteY4" fmla="*/ 355060 h 2705878"/>
                  <a:gd name="connsiteX5" fmla="*/ 1148132 w 2568372"/>
                  <a:gd name="connsiteY5" fmla="*/ 306422 h 2705878"/>
                  <a:gd name="connsiteX6" fmla="*/ 418558 w 2568372"/>
                  <a:gd name="connsiteY6" fmla="*/ 1118680 h 2705878"/>
                  <a:gd name="connsiteX7" fmla="*/ 399104 w 2568372"/>
                  <a:gd name="connsiteY7" fmla="*/ 1420238 h 2705878"/>
                  <a:gd name="connsiteX8" fmla="*/ 768755 w 2568372"/>
                  <a:gd name="connsiteY8" fmla="*/ 1809344 h 2705878"/>
                  <a:gd name="connsiteX9" fmla="*/ 934125 w 2568372"/>
                  <a:gd name="connsiteY9" fmla="*/ 2504872 h 2705878"/>
                  <a:gd name="connsiteX10" fmla="*/ 715252 w 2568372"/>
                  <a:gd name="connsiteY10" fmla="*/ 2694562 h 2705878"/>
                  <a:gd name="connsiteX11" fmla="*/ 452606 w 2568372"/>
                  <a:gd name="connsiteY11" fmla="*/ 1935804 h 2705878"/>
                  <a:gd name="connsiteX12" fmla="*/ 58634 w 2568372"/>
                  <a:gd name="connsiteY12" fmla="*/ 1493195 h 2705878"/>
                  <a:gd name="connsiteX13" fmla="*/ 117001 w 2568372"/>
                  <a:gd name="connsiteY13" fmla="*/ 982494 h 2705878"/>
                  <a:gd name="connsiteX0" fmla="*/ 117001 w 2568372"/>
                  <a:gd name="connsiteY0" fmla="*/ 982494 h 2705878"/>
                  <a:gd name="connsiteX1" fmla="*/ 1007082 w 2568372"/>
                  <a:gd name="connsiteY1" fmla="*/ 9727 h 2705878"/>
                  <a:gd name="connsiteX2" fmla="*/ 1663699 w 2568372"/>
                  <a:gd name="connsiteY2" fmla="*/ 0 h 2705878"/>
                  <a:gd name="connsiteX3" fmla="*/ 2568372 w 2568372"/>
                  <a:gd name="connsiteY3" fmla="*/ 131323 h 2705878"/>
                  <a:gd name="connsiteX4" fmla="*/ 1566422 w 2568372"/>
                  <a:gd name="connsiteY4" fmla="*/ 355060 h 2705878"/>
                  <a:gd name="connsiteX5" fmla="*/ 1148132 w 2568372"/>
                  <a:gd name="connsiteY5" fmla="*/ 306422 h 2705878"/>
                  <a:gd name="connsiteX6" fmla="*/ 418558 w 2568372"/>
                  <a:gd name="connsiteY6" fmla="*/ 1118680 h 2705878"/>
                  <a:gd name="connsiteX7" fmla="*/ 399104 w 2568372"/>
                  <a:gd name="connsiteY7" fmla="*/ 1420238 h 2705878"/>
                  <a:gd name="connsiteX8" fmla="*/ 768755 w 2568372"/>
                  <a:gd name="connsiteY8" fmla="*/ 1809344 h 2705878"/>
                  <a:gd name="connsiteX9" fmla="*/ 934125 w 2568372"/>
                  <a:gd name="connsiteY9" fmla="*/ 2504872 h 2705878"/>
                  <a:gd name="connsiteX10" fmla="*/ 715252 w 2568372"/>
                  <a:gd name="connsiteY10" fmla="*/ 2694562 h 2705878"/>
                  <a:gd name="connsiteX11" fmla="*/ 452606 w 2568372"/>
                  <a:gd name="connsiteY11" fmla="*/ 1935804 h 2705878"/>
                  <a:gd name="connsiteX12" fmla="*/ 58634 w 2568372"/>
                  <a:gd name="connsiteY12" fmla="*/ 1493195 h 2705878"/>
                  <a:gd name="connsiteX13" fmla="*/ 117001 w 2568372"/>
                  <a:gd name="connsiteY13" fmla="*/ 982494 h 2705878"/>
                  <a:gd name="connsiteX0" fmla="*/ 117001 w 2568372"/>
                  <a:gd name="connsiteY0" fmla="*/ 1079805 h 2803189"/>
                  <a:gd name="connsiteX1" fmla="*/ 1007082 w 2568372"/>
                  <a:gd name="connsiteY1" fmla="*/ 107038 h 2803189"/>
                  <a:gd name="connsiteX2" fmla="*/ 1663699 w 2568372"/>
                  <a:gd name="connsiteY2" fmla="*/ 97311 h 2803189"/>
                  <a:gd name="connsiteX3" fmla="*/ 2568372 w 2568372"/>
                  <a:gd name="connsiteY3" fmla="*/ 228634 h 2803189"/>
                  <a:gd name="connsiteX4" fmla="*/ 1566422 w 2568372"/>
                  <a:gd name="connsiteY4" fmla="*/ 452371 h 2803189"/>
                  <a:gd name="connsiteX5" fmla="*/ 1148132 w 2568372"/>
                  <a:gd name="connsiteY5" fmla="*/ 403733 h 2803189"/>
                  <a:gd name="connsiteX6" fmla="*/ 418558 w 2568372"/>
                  <a:gd name="connsiteY6" fmla="*/ 1215991 h 2803189"/>
                  <a:gd name="connsiteX7" fmla="*/ 399104 w 2568372"/>
                  <a:gd name="connsiteY7" fmla="*/ 1517549 h 2803189"/>
                  <a:gd name="connsiteX8" fmla="*/ 768755 w 2568372"/>
                  <a:gd name="connsiteY8" fmla="*/ 1906655 h 2803189"/>
                  <a:gd name="connsiteX9" fmla="*/ 934125 w 2568372"/>
                  <a:gd name="connsiteY9" fmla="*/ 2602183 h 2803189"/>
                  <a:gd name="connsiteX10" fmla="*/ 715252 w 2568372"/>
                  <a:gd name="connsiteY10" fmla="*/ 2791873 h 2803189"/>
                  <a:gd name="connsiteX11" fmla="*/ 452606 w 2568372"/>
                  <a:gd name="connsiteY11" fmla="*/ 2033115 h 2803189"/>
                  <a:gd name="connsiteX12" fmla="*/ 58634 w 2568372"/>
                  <a:gd name="connsiteY12" fmla="*/ 1590506 h 2803189"/>
                  <a:gd name="connsiteX13" fmla="*/ 117001 w 2568372"/>
                  <a:gd name="connsiteY13" fmla="*/ 1079805 h 2803189"/>
                  <a:gd name="connsiteX0" fmla="*/ 117001 w 2568372"/>
                  <a:gd name="connsiteY0" fmla="*/ 1091839 h 2815223"/>
                  <a:gd name="connsiteX1" fmla="*/ 1007082 w 2568372"/>
                  <a:gd name="connsiteY1" fmla="*/ 119072 h 2815223"/>
                  <a:gd name="connsiteX2" fmla="*/ 1663699 w 2568372"/>
                  <a:gd name="connsiteY2" fmla="*/ 109345 h 2815223"/>
                  <a:gd name="connsiteX3" fmla="*/ 2568372 w 2568372"/>
                  <a:gd name="connsiteY3" fmla="*/ 240668 h 2815223"/>
                  <a:gd name="connsiteX4" fmla="*/ 1566422 w 2568372"/>
                  <a:gd name="connsiteY4" fmla="*/ 464405 h 2815223"/>
                  <a:gd name="connsiteX5" fmla="*/ 1148132 w 2568372"/>
                  <a:gd name="connsiteY5" fmla="*/ 415767 h 2815223"/>
                  <a:gd name="connsiteX6" fmla="*/ 418558 w 2568372"/>
                  <a:gd name="connsiteY6" fmla="*/ 1228025 h 2815223"/>
                  <a:gd name="connsiteX7" fmla="*/ 399104 w 2568372"/>
                  <a:gd name="connsiteY7" fmla="*/ 1529583 h 2815223"/>
                  <a:gd name="connsiteX8" fmla="*/ 768755 w 2568372"/>
                  <a:gd name="connsiteY8" fmla="*/ 1918689 h 2815223"/>
                  <a:gd name="connsiteX9" fmla="*/ 934125 w 2568372"/>
                  <a:gd name="connsiteY9" fmla="*/ 2614217 h 2815223"/>
                  <a:gd name="connsiteX10" fmla="*/ 715252 w 2568372"/>
                  <a:gd name="connsiteY10" fmla="*/ 2803907 h 2815223"/>
                  <a:gd name="connsiteX11" fmla="*/ 452606 w 2568372"/>
                  <a:gd name="connsiteY11" fmla="*/ 2045149 h 2815223"/>
                  <a:gd name="connsiteX12" fmla="*/ 58634 w 2568372"/>
                  <a:gd name="connsiteY12" fmla="*/ 1602540 h 2815223"/>
                  <a:gd name="connsiteX13" fmla="*/ 117001 w 2568372"/>
                  <a:gd name="connsiteY13" fmla="*/ 1091839 h 2815223"/>
                  <a:gd name="connsiteX0" fmla="*/ 117001 w 2568372"/>
                  <a:gd name="connsiteY0" fmla="*/ 1091839 h 2815223"/>
                  <a:gd name="connsiteX1" fmla="*/ 1007082 w 2568372"/>
                  <a:gd name="connsiteY1" fmla="*/ 119072 h 2815223"/>
                  <a:gd name="connsiteX2" fmla="*/ 1663699 w 2568372"/>
                  <a:gd name="connsiteY2" fmla="*/ 109345 h 2815223"/>
                  <a:gd name="connsiteX3" fmla="*/ 2568372 w 2568372"/>
                  <a:gd name="connsiteY3" fmla="*/ 240668 h 2815223"/>
                  <a:gd name="connsiteX4" fmla="*/ 1566422 w 2568372"/>
                  <a:gd name="connsiteY4" fmla="*/ 464405 h 2815223"/>
                  <a:gd name="connsiteX5" fmla="*/ 1148132 w 2568372"/>
                  <a:gd name="connsiteY5" fmla="*/ 415767 h 2815223"/>
                  <a:gd name="connsiteX6" fmla="*/ 418558 w 2568372"/>
                  <a:gd name="connsiteY6" fmla="*/ 1228025 h 2815223"/>
                  <a:gd name="connsiteX7" fmla="*/ 399104 w 2568372"/>
                  <a:gd name="connsiteY7" fmla="*/ 1529583 h 2815223"/>
                  <a:gd name="connsiteX8" fmla="*/ 768755 w 2568372"/>
                  <a:gd name="connsiteY8" fmla="*/ 1918689 h 2815223"/>
                  <a:gd name="connsiteX9" fmla="*/ 934125 w 2568372"/>
                  <a:gd name="connsiteY9" fmla="*/ 2614217 h 2815223"/>
                  <a:gd name="connsiteX10" fmla="*/ 715252 w 2568372"/>
                  <a:gd name="connsiteY10" fmla="*/ 2803907 h 2815223"/>
                  <a:gd name="connsiteX11" fmla="*/ 452606 w 2568372"/>
                  <a:gd name="connsiteY11" fmla="*/ 2045149 h 2815223"/>
                  <a:gd name="connsiteX12" fmla="*/ 58634 w 2568372"/>
                  <a:gd name="connsiteY12" fmla="*/ 1602540 h 2815223"/>
                  <a:gd name="connsiteX13" fmla="*/ 117001 w 2568372"/>
                  <a:gd name="connsiteY13" fmla="*/ 1091839 h 2815223"/>
                  <a:gd name="connsiteX0" fmla="*/ 117001 w 2568372"/>
                  <a:gd name="connsiteY0" fmla="*/ 1091839 h 2815223"/>
                  <a:gd name="connsiteX1" fmla="*/ 1007082 w 2568372"/>
                  <a:gd name="connsiteY1" fmla="*/ 119072 h 2815223"/>
                  <a:gd name="connsiteX2" fmla="*/ 1663699 w 2568372"/>
                  <a:gd name="connsiteY2" fmla="*/ 109345 h 2815223"/>
                  <a:gd name="connsiteX3" fmla="*/ 2568372 w 2568372"/>
                  <a:gd name="connsiteY3" fmla="*/ 240668 h 2815223"/>
                  <a:gd name="connsiteX4" fmla="*/ 1566422 w 2568372"/>
                  <a:gd name="connsiteY4" fmla="*/ 464405 h 2815223"/>
                  <a:gd name="connsiteX5" fmla="*/ 1148132 w 2568372"/>
                  <a:gd name="connsiteY5" fmla="*/ 415767 h 2815223"/>
                  <a:gd name="connsiteX6" fmla="*/ 418558 w 2568372"/>
                  <a:gd name="connsiteY6" fmla="*/ 1228025 h 2815223"/>
                  <a:gd name="connsiteX7" fmla="*/ 399104 w 2568372"/>
                  <a:gd name="connsiteY7" fmla="*/ 1529583 h 2815223"/>
                  <a:gd name="connsiteX8" fmla="*/ 768755 w 2568372"/>
                  <a:gd name="connsiteY8" fmla="*/ 1918689 h 2815223"/>
                  <a:gd name="connsiteX9" fmla="*/ 934125 w 2568372"/>
                  <a:gd name="connsiteY9" fmla="*/ 2614217 h 2815223"/>
                  <a:gd name="connsiteX10" fmla="*/ 715252 w 2568372"/>
                  <a:gd name="connsiteY10" fmla="*/ 2803907 h 2815223"/>
                  <a:gd name="connsiteX11" fmla="*/ 452606 w 2568372"/>
                  <a:gd name="connsiteY11" fmla="*/ 2045149 h 2815223"/>
                  <a:gd name="connsiteX12" fmla="*/ 58634 w 2568372"/>
                  <a:gd name="connsiteY12" fmla="*/ 1602540 h 2815223"/>
                  <a:gd name="connsiteX13" fmla="*/ 117001 w 2568372"/>
                  <a:gd name="connsiteY13" fmla="*/ 1091839 h 2815223"/>
                  <a:gd name="connsiteX0" fmla="*/ 117001 w 2568372"/>
                  <a:gd name="connsiteY0" fmla="*/ 1091839 h 2815223"/>
                  <a:gd name="connsiteX1" fmla="*/ 1007082 w 2568372"/>
                  <a:gd name="connsiteY1" fmla="*/ 119072 h 2815223"/>
                  <a:gd name="connsiteX2" fmla="*/ 1663699 w 2568372"/>
                  <a:gd name="connsiteY2" fmla="*/ 109345 h 2815223"/>
                  <a:gd name="connsiteX3" fmla="*/ 2568372 w 2568372"/>
                  <a:gd name="connsiteY3" fmla="*/ 240668 h 2815223"/>
                  <a:gd name="connsiteX4" fmla="*/ 1566422 w 2568372"/>
                  <a:gd name="connsiteY4" fmla="*/ 464405 h 2815223"/>
                  <a:gd name="connsiteX5" fmla="*/ 1148132 w 2568372"/>
                  <a:gd name="connsiteY5" fmla="*/ 415767 h 2815223"/>
                  <a:gd name="connsiteX6" fmla="*/ 418558 w 2568372"/>
                  <a:gd name="connsiteY6" fmla="*/ 1228025 h 2815223"/>
                  <a:gd name="connsiteX7" fmla="*/ 399104 w 2568372"/>
                  <a:gd name="connsiteY7" fmla="*/ 1529583 h 2815223"/>
                  <a:gd name="connsiteX8" fmla="*/ 768755 w 2568372"/>
                  <a:gd name="connsiteY8" fmla="*/ 1918689 h 2815223"/>
                  <a:gd name="connsiteX9" fmla="*/ 934125 w 2568372"/>
                  <a:gd name="connsiteY9" fmla="*/ 2614217 h 2815223"/>
                  <a:gd name="connsiteX10" fmla="*/ 715252 w 2568372"/>
                  <a:gd name="connsiteY10" fmla="*/ 2803907 h 2815223"/>
                  <a:gd name="connsiteX11" fmla="*/ 452606 w 2568372"/>
                  <a:gd name="connsiteY11" fmla="*/ 2045149 h 2815223"/>
                  <a:gd name="connsiteX12" fmla="*/ 58634 w 2568372"/>
                  <a:gd name="connsiteY12" fmla="*/ 1602540 h 2815223"/>
                  <a:gd name="connsiteX13" fmla="*/ 117001 w 2568372"/>
                  <a:gd name="connsiteY13" fmla="*/ 1091839 h 2815223"/>
                  <a:gd name="connsiteX0" fmla="*/ 117001 w 2568372"/>
                  <a:gd name="connsiteY0" fmla="*/ 1091839 h 2815223"/>
                  <a:gd name="connsiteX1" fmla="*/ 1007082 w 2568372"/>
                  <a:gd name="connsiteY1" fmla="*/ 119072 h 2815223"/>
                  <a:gd name="connsiteX2" fmla="*/ 1663699 w 2568372"/>
                  <a:gd name="connsiteY2" fmla="*/ 109345 h 2815223"/>
                  <a:gd name="connsiteX3" fmla="*/ 2568372 w 2568372"/>
                  <a:gd name="connsiteY3" fmla="*/ 240668 h 2815223"/>
                  <a:gd name="connsiteX4" fmla="*/ 1566422 w 2568372"/>
                  <a:gd name="connsiteY4" fmla="*/ 464405 h 2815223"/>
                  <a:gd name="connsiteX5" fmla="*/ 1148132 w 2568372"/>
                  <a:gd name="connsiteY5" fmla="*/ 415767 h 2815223"/>
                  <a:gd name="connsiteX6" fmla="*/ 418558 w 2568372"/>
                  <a:gd name="connsiteY6" fmla="*/ 1228025 h 2815223"/>
                  <a:gd name="connsiteX7" fmla="*/ 399104 w 2568372"/>
                  <a:gd name="connsiteY7" fmla="*/ 1529583 h 2815223"/>
                  <a:gd name="connsiteX8" fmla="*/ 768755 w 2568372"/>
                  <a:gd name="connsiteY8" fmla="*/ 1918689 h 2815223"/>
                  <a:gd name="connsiteX9" fmla="*/ 934125 w 2568372"/>
                  <a:gd name="connsiteY9" fmla="*/ 2614217 h 2815223"/>
                  <a:gd name="connsiteX10" fmla="*/ 715252 w 2568372"/>
                  <a:gd name="connsiteY10" fmla="*/ 2803907 h 2815223"/>
                  <a:gd name="connsiteX11" fmla="*/ 452606 w 2568372"/>
                  <a:gd name="connsiteY11" fmla="*/ 2045149 h 2815223"/>
                  <a:gd name="connsiteX12" fmla="*/ 58634 w 2568372"/>
                  <a:gd name="connsiteY12" fmla="*/ 1602540 h 2815223"/>
                  <a:gd name="connsiteX13" fmla="*/ 117001 w 2568372"/>
                  <a:gd name="connsiteY13" fmla="*/ 1091839 h 2815223"/>
                  <a:gd name="connsiteX0" fmla="*/ 117001 w 2603282"/>
                  <a:gd name="connsiteY0" fmla="*/ 1091839 h 2815223"/>
                  <a:gd name="connsiteX1" fmla="*/ 1007082 w 2603282"/>
                  <a:gd name="connsiteY1" fmla="*/ 119072 h 2815223"/>
                  <a:gd name="connsiteX2" fmla="*/ 1663699 w 2603282"/>
                  <a:gd name="connsiteY2" fmla="*/ 109345 h 2815223"/>
                  <a:gd name="connsiteX3" fmla="*/ 2568372 w 2603282"/>
                  <a:gd name="connsiteY3" fmla="*/ 240668 h 2815223"/>
                  <a:gd name="connsiteX4" fmla="*/ 2334908 w 2603282"/>
                  <a:gd name="connsiteY4" fmla="*/ 483861 h 2815223"/>
                  <a:gd name="connsiteX5" fmla="*/ 1566422 w 2603282"/>
                  <a:gd name="connsiteY5" fmla="*/ 464405 h 2815223"/>
                  <a:gd name="connsiteX6" fmla="*/ 1148132 w 2603282"/>
                  <a:gd name="connsiteY6" fmla="*/ 415767 h 2815223"/>
                  <a:gd name="connsiteX7" fmla="*/ 418558 w 2603282"/>
                  <a:gd name="connsiteY7" fmla="*/ 1228025 h 2815223"/>
                  <a:gd name="connsiteX8" fmla="*/ 399104 w 2603282"/>
                  <a:gd name="connsiteY8" fmla="*/ 1529583 h 2815223"/>
                  <a:gd name="connsiteX9" fmla="*/ 768755 w 2603282"/>
                  <a:gd name="connsiteY9" fmla="*/ 1918689 h 2815223"/>
                  <a:gd name="connsiteX10" fmla="*/ 934125 w 2603282"/>
                  <a:gd name="connsiteY10" fmla="*/ 2614217 h 2815223"/>
                  <a:gd name="connsiteX11" fmla="*/ 715252 w 2603282"/>
                  <a:gd name="connsiteY11" fmla="*/ 2803907 h 2815223"/>
                  <a:gd name="connsiteX12" fmla="*/ 452606 w 2603282"/>
                  <a:gd name="connsiteY12" fmla="*/ 2045149 h 2815223"/>
                  <a:gd name="connsiteX13" fmla="*/ 58634 w 2603282"/>
                  <a:gd name="connsiteY13" fmla="*/ 1602540 h 2815223"/>
                  <a:gd name="connsiteX14" fmla="*/ 117001 w 2603282"/>
                  <a:gd name="connsiteY14" fmla="*/ 1091839 h 2815223"/>
                  <a:gd name="connsiteX0" fmla="*/ 117001 w 2704505"/>
                  <a:gd name="connsiteY0" fmla="*/ 1091839 h 2815223"/>
                  <a:gd name="connsiteX1" fmla="*/ 1007082 w 2704505"/>
                  <a:gd name="connsiteY1" fmla="*/ 119072 h 2815223"/>
                  <a:gd name="connsiteX2" fmla="*/ 1663699 w 2704505"/>
                  <a:gd name="connsiteY2" fmla="*/ 109345 h 2815223"/>
                  <a:gd name="connsiteX3" fmla="*/ 2568372 w 2704505"/>
                  <a:gd name="connsiteY3" fmla="*/ 240668 h 2815223"/>
                  <a:gd name="connsiteX4" fmla="*/ 2617010 w 2704505"/>
                  <a:gd name="connsiteY4" fmla="*/ 381721 h 2815223"/>
                  <a:gd name="connsiteX5" fmla="*/ 1566422 w 2704505"/>
                  <a:gd name="connsiteY5" fmla="*/ 464405 h 2815223"/>
                  <a:gd name="connsiteX6" fmla="*/ 1148132 w 2704505"/>
                  <a:gd name="connsiteY6" fmla="*/ 415767 h 2815223"/>
                  <a:gd name="connsiteX7" fmla="*/ 418558 w 2704505"/>
                  <a:gd name="connsiteY7" fmla="*/ 1228025 h 2815223"/>
                  <a:gd name="connsiteX8" fmla="*/ 399104 w 2704505"/>
                  <a:gd name="connsiteY8" fmla="*/ 1529583 h 2815223"/>
                  <a:gd name="connsiteX9" fmla="*/ 768755 w 2704505"/>
                  <a:gd name="connsiteY9" fmla="*/ 1918689 h 2815223"/>
                  <a:gd name="connsiteX10" fmla="*/ 934125 w 2704505"/>
                  <a:gd name="connsiteY10" fmla="*/ 2614217 h 2815223"/>
                  <a:gd name="connsiteX11" fmla="*/ 715252 w 2704505"/>
                  <a:gd name="connsiteY11" fmla="*/ 2803907 h 2815223"/>
                  <a:gd name="connsiteX12" fmla="*/ 452606 w 2704505"/>
                  <a:gd name="connsiteY12" fmla="*/ 2045149 h 2815223"/>
                  <a:gd name="connsiteX13" fmla="*/ 58634 w 2704505"/>
                  <a:gd name="connsiteY13" fmla="*/ 1602540 h 2815223"/>
                  <a:gd name="connsiteX14" fmla="*/ 117001 w 2704505"/>
                  <a:gd name="connsiteY14" fmla="*/ 1091839 h 2815223"/>
                  <a:gd name="connsiteX0" fmla="*/ 117001 w 2832040"/>
                  <a:gd name="connsiteY0" fmla="*/ 1091839 h 2815223"/>
                  <a:gd name="connsiteX1" fmla="*/ 1007082 w 2832040"/>
                  <a:gd name="connsiteY1" fmla="*/ 119072 h 2815223"/>
                  <a:gd name="connsiteX2" fmla="*/ 1663699 w 2832040"/>
                  <a:gd name="connsiteY2" fmla="*/ 109345 h 2815223"/>
                  <a:gd name="connsiteX3" fmla="*/ 2568372 w 2832040"/>
                  <a:gd name="connsiteY3" fmla="*/ 240668 h 2815223"/>
                  <a:gd name="connsiteX4" fmla="*/ 2617010 w 2832040"/>
                  <a:gd name="connsiteY4" fmla="*/ 381721 h 2815223"/>
                  <a:gd name="connsiteX5" fmla="*/ 1566422 w 2832040"/>
                  <a:gd name="connsiteY5" fmla="*/ 464405 h 2815223"/>
                  <a:gd name="connsiteX6" fmla="*/ 1148132 w 2832040"/>
                  <a:gd name="connsiteY6" fmla="*/ 415767 h 2815223"/>
                  <a:gd name="connsiteX7" fmla="*/ 418558 w 2832040"/>
                  <a:gd name="connsiteY7" fmla="*/ 1228025 h 2815223"/>
                  <a:gd name="connsiteX8" fmla="*/ 399104 w 2832040"/>
                  <a:gd name="connsiteY8" fmla="*/ 1529583 h 2815223"/>
                  <a:gd name="connsiteX9" fmla="*/ 768755 w 2832040"/>
                  <a:gd name="connsiteY9" fmla="*/ 1918689 h 2815223"/>
                  <a:gd name="connsiteX10" fmla="*/ 934125 w 2832040"/>
                  <a:gd name="connsiteY10" fmla="*/ 2614217 h 2815223"/>
                  <a:gd name="connsiteX11" fmla="*/ 715252 w 2832040"/>
                  <a:gd name="connsiteY11" fmla="*/ 2803907 h 2815223"/>
                  <a:gd name="connsiteX12" fmla="*/ 452606 w 2832040"/>
                  <a:gd name="connsiteY12" fmla="*/ 2045149 h 2815223"/>
                  <a:gd name="connsiteX13" fmla="*/ 58634 w 2832040"/>
                  <a:gd name="connsiteY13" fmla="*/ 1602540 h 2815223"/>
                  <a:gd name="connsiteX14" fmla="*/ 117001 w 2832040"/>
                  <a:gd name="connsiteY14" fmla="*/ 1091839 h 2815223"/>
                  <a:gd name="connsiteX0" fmla="*/ 117001 w 2832040"/>
                  <a:gd name="connsiteY0" fmla="*/ 1091839 h 2815223"/>
                  <a:gd name="connsiteX1" fmla="*/ 1007082 w 2832040"/>
                  <a:gd name="connsiteY1" fmla="*/ 119072 h 2815223"/>
                  <a:gd name="connsiteX2" fmla="*/ 1663699 w 2832040"/>
                  <a:gd name="connsiteY2" fmla="*/ 109345 h 2815223"/>
                  <a:gd name="connsiteX3" fmla="*/ 2568372 w 2832040"/>
                  <a:gd name="connsiteY3" fmla="*/ 240668 h 2815223"/>
                  <a:gd name="connsiteX4" fmla="*/ 2617010 w 2832040"/>
                  <a:gd name="connsiteY4" fmla="*/ 381721 h 2815223"/>
                  <a:gd name="connsiteX5" fmla="*/ 1566422 w 2832040"/>
                  <a:gd name="connsiteY5" fmla="*/ 464405 h 2815223"/>
                  <a:gd name="connsiteX6" fmla="*/ 1148132 w 2832040"/>
                  <a:gd name="connsiteY6" fmla="*/ 415767 h 2815223"/>
                  <a:gd name="connsiteX7" fmla="*/ 418558 w 2832040"/>
                  <a:gd name="connsiteY7" fmla="*/ 1228025 h 2815223"/>
                  <a:gd name="connsiteX8" fmla="*/ 399104 w 2832040"/>
                  <a:gd name="connsiteY8" fmla="*/ 1529583 h 2815223"/>
                  <a:gd name="connsiteX9" fmla="*/ 768755 w 2832040"/>
                  <a:gd name="connsiteY9" fmla="*/ 1918689 h 2815223"/>
                  <a:gd name="connsiteX10" fmla="*/ 934125 w 2832040"/>
                  <a:gd name="connsiteY10" fmla="*/ 2614217 h 2815223"/>
                  <a:gd name="connsiteX11" fmla="*/ 715252 w 2832040"/>
                  <a:gd name="connsiteY11" fmla="*/ 2803907 h 2815223"/>
                  <a:gd name="connsiteX12" fmla="*/ 452606 w 2832040"/>
                  <a:gd name="connsiteY12" fmla="*/ 2045149 h 2815223"/>
                  <a:gd name="connsiteX13" fmla="*/ 58634 w 2832040"/>
                  <a:gd name="connsiteY13" fmla="*/ 1602540 h 2815223"/>
                  <a:gd name="connsiteX14" fmla="*/ 117001 w 283204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36680"/>
                  <a:gd name="connsiteY0" fmla="*/ 1091839 h 2815223"/>
                  <a:gd name="connsiteX1" fmla="*/ 1007082 w 2836680"/>
                  <a:gd name="connsiteY1" fmla="*/ 119072 h 2815223"/>
                  <a:gd name="connsiteX2" fmla="*/ 1663699 w 2836680"/>
                  <a:gd name="connsiteY2" fmla="*/ 109345 h 2815223"/>
                  <a:gd name="connsiteX3" fmla="*/ 2568372 w 2836680"/>
                  <a:gd name="connsiteY3" fmla="*/ 240668 h 2815223"/>
                  <a:gd name="connsiteX4" fmla="*/ 2617010 w 2836680"/>
                  <a:gd name="connsiteY4" fmla="*/ 381721 h 2815223"/>
                  <a:gd name="connsiteX5" fmla="*/ 1566422 w 2836680"/>
                  <a:gd name="connsiteY5" fmla="*/ 464405 h 2815223"/>
                  <a:gd name="connsiteX6" fmla="*/ 1148132 w 2836680"/>
                  <a:gd name="connsiteY6" fmla="*/ 415767 h 2815223"/>
                  <a:gd name="connsiteX7" fmla="*/ 418558 w 2836680"/>
                  <a:gd name="connsiteY7" fmla="*/ 1228025 h 2815223"/>
                  <a:gd name="connsiteX8" fmla="*/ 399104 w 2836680"/>
                  <a:gd name="connsiteY8" fmla="*/ 1529583 h 2815223"/>
                  <a:gd name="connsiteX9" fmla="*/ 768755 w 2836680"/>
                  <a:gd name="connsiteY9" fmla="*/ 1918689 h 2815223"/>
                  <a:gd name="connsiteX10" fmla="*/ 934125 w 2836680"/>
                  <a:gd name="connsiteY10" fmla="*/ 2614217 h 2815223"/>
                  <a:gd name="connsiteX11" fmla="*/ 715252 w 2836680"/>
                  <a:gd name="connsiteY11" fmla="*/ 2803907 h 2815223"/>
                  <a:gd name="connsiteX12" fmla="*/ 452606 w 2836680"/>
                  <a:gd name="connsiteY12" fmla="*/ 2045149 h 2815223"/>
                  <a:gd name="connsiteX13" fmla="*/ 58634 w 2836680"/>
                  <a:gd name="connsiteY13" fmla="*/ 1602540 h 2815223"/>
                  <a:gd name="connsiteX14" fmla="*/ 117001 w 2836680"/>
                  <a:gd name="connsiteY14" fmla="*/ 1091839 h 2815223"/>
                  <a:gd name="connsiteX0" fmla="*/ 117001 w 2846845"/>
                  <a:gd name="connsiteY0" fmla="*/ 1091839 h 2815223"/>
                  <a:gd name="connsiteX1" fmla="*/ 1007082 w 2846845"/>
                  <a:gd name="connsiteY1" fmla="*/ 119072 h 2815223"/>
                  <a:gd name="connsiteX2" fmla="*/ 1663699 w 2846845"/>
                  <a:gd name="connsiteY2" fmla="*/ 109345 h 2815223"/>
                  <a:gd name="connsiteX3" fmla="*/ 2568372 w 2846845"/>
                  <a:gd name="connsiteY3" fmla="*/ 240668 h 2815223"/>
                  <a:gd name="connsiteX4" fmla="*/ 2617010 w 2846845"/>
                  <a:gd name="connsiteY4" fmla="*/ 381721 h 2815223"/>
                  <a:gd name="connsiteX5" fmla="*/ 1566422 w 2846845"/>
                  <a:gd name="connsiteY5" fmla="*/ 464405 h 2815223"/>
                  <a:gd name="connsiteX6" fmla="*/ 1148132 w 2846845"/>
                  <a:gd name="connsiteY6" fmla="*/ 415767 h 2815223"/>
                  <a:gd name="connsiteX7" fmla="*/ 418558 w 2846845"/>
                  <a:gd name="connsiteY7" fmla="*/ 1228025 h 2815223"/>
                  <a:gd name="connsiteX8" fmla="*/ 399104 w 2846845"/>
                  <a:gd name="connsiteY8" fmla="*/ 1529583 h 2815223"/>
                  <a:gd name="connsiteX9" fmla="*/ 768755 w 2846845"/>
                  <a:gd name="connsiteY9" fmla="*/ 1918689 h 2815223"/>
                  <a:gd name="connsiteX10" fmla="*/ 934125 w 2846845"/>
                  <a:gd name="connsiteY10" fmla="*/ 2614217 h 2815223"/>
                  <a:gd name="connsiteX11" fmla="*/ 715252 w 2846845"/>
                  <a:gd name="connsiteY11" fmla="*/ 2803907 h 2815223"/>
                  <a:gd name="connsiteX12" fmla="*/ 452606 w 2846845"/>
                  <a:gd name="connsiteY12" fmla="*/ 2045149 h 2815223"/>
                  <a:gd name="connsiteX13" fmla="*/ 58634 w 2846845"/>
                  <a:gd name="connsiteY13" fmla="*/ 1602540 h 2815223"/>
                  <a:gd name="connsiteX14" fmla="*/ 117001 w 2846845"/>
                  <a:gd name="connsiteY14" fmla="*/ 1091839 h 2815223"/>
                  <a:gd name="connsiteX0" fmla="*/ 117001 w 2846845"/>
                  <a:gd name="connsiteY0" fmla="*/ 1091839 h 2815223"/>
                  <a:gd name="connsiteX1" fmla="*/ 1007082 w 2846845"/>
                  <a:gd name="connsiteY1" fmla="*/ 119072 h 2815223"/>
                  <a:gd name="connsiteX2" fmla="*/ 1663699 w 2846845"/>
                  <a:gd name="connsiteY2" fmla="*/ 109345 h 2815223"/>
                  <a:gd name="connsiteX3" fmla="*/ 2568372 w 2846845"/>
                  <a:gd name="connsiteY3" fmla="*/ 240668 h 2815223"/>
                  <a:gd name="connsiteX4" fmla="*/ 2617010 w 2846845"/>
                  <a:gd name="connsiteY4" fmla="*/ 381721 h 2815223"/>
                  <a:gd name="connsiteX5" fmla="*/ 1566422 w 2846845"/>
                  <a:gd name="connsiteY5" fmla="*/ 464405 h 2815223"/>
                  <a:gd name="connsiteX6" fmla="*/ 1148132 w 2846845"/>
                  <a:gd name="connsiteY6" fmla="*/ 415767 h 2815223"/>
                  <a:gd name="connsiteX7" fmla="*/ 418558 w 2846845"/>
                  <a:gd name="connsiteY7" fmla="*/ 1228025 h 2815223"/>
                  <a:gd name="connsiteX8" fmla="*/ 399104 w 2846845"/>
                  <a:gd name="connsiteY8" fmla="*/ 1529583 h 2815223"/>
                  <a:gd name="connsiteX9" fmla="*/ 768755 w 2846845"/>
                  <a:gd name="connsiteY9" fmla="*/ 1918689 h 2815223"/>
                  <a:gd name="connsiteX10" fmla="*/ 934125 w 2846845"/>
                  <a:gd name="connsiteY10" fmla="*/ 2614217 h 2815223"/>
                  <a:gd name="connsiteX11" fmla="*/ 715252 w 2846845"/>
                  <a:gd name="connsiteY11" fmla="*/ 2803907 h 2815223"/>
                  <a:gd name="connsiteX12" fmla="*/ 452606 w 2846845"/>
                  <a:gd name="connsiteY12" fmla="*/ 2045149 h 2815223"/>
                  <a:gd name="connsiteX13" fmla="*/ 58634 w 2846845"/>
                  <a:gd name="connsiteY13" fmla="*/ 1602540 h 2815223"/>
                  <a:gd name="connsiteX14" fmla="*/ 117001 w 2846845"/>
                  <a:gd name="connsiteY14" fmla="*/ 1091839 h 2815223"/>
                  <a:gd name="connsiteX0" fmla="*/ 117001 w 2846845"/>
                  <a:gd name="connsiteY0" fmla="*/ 1091839 h 2815223"/>
                  <a:gd name="connsiteX1" fmla="*/ 1007082 w 2846845"/>
                  <a:gd name="connsiteY1" fmla="*/ 119072 h 2815223"/>
                  <a:gd name="connsiteX2" fmla="*/ 1663699 w 2846845"/>
                  <a:gd name="connsiteY2" fmla="*/ 109345 h 2815223"/>
                  <a:gd name="connsiteX3" fmla="*/ 2568372 w 2846845"/>
                  <a:gd name="connsiteY3" fmla="*/ 240668 h 2815223"/>
                  <a:gd name="connsiteX4" fmla="*/ 2617010 w 2846845"/>
                  <a:gd name="connsiteY4" fmla="*/ 381721 h 2815223"/>
                  <a:gd name="connsiteX5" fmla="*/ 1566422 w 2846845"/>
                  <a:gd name="connsiteY5" fmla="*/ 464405 h 2815223"/>
                  <a:gd name="connsiteX6" fmla="*/ 1148132 w 2846845"/>
                  <a:gd name="connsiteY6" fmla="*/ 415767 h 2815223"/>
                  <a:gd name="connsiteX7" fmla="*/ 418558 w 2846845"/>
                  <a:gd name="connsiteY7" fmla="*/ 1228025 h 2815223"/>
                  <a:gd name="connsiteX8" fmla="*/ 399104 w 2846845"/>
                  <a:gd name="connsiteY8" fmla="*/ 1529583 h 2815223"/>
                  <a:gd name="connsiteX9" fmla="*/ 768755 w 2846845"/>
                  <a:gd name="connsiteY9" fmla="*/ 1918689 h 2815223"/>
                  <a:gd name="connsiteX10" fmla="*/ 934125 w 2846845"/>
                  <a:gd name="connsiteY10" fmla="*/ 2614217 h 2815223"/>
                  <a:gd name="connsiteX11" fmla="*/ 715252 w 2846845"/>
                  <a:gd name="connsiteY11" fmla="*/ 2803907 h 2815223"/>
                  <a:gd name="connsiteX12" fmla="*/ 452606 w 2846845"/>
                  <a:gd name="connsiteY12" fmla="*/ 2045149 h 2815223"/>
                  <a:gd name="connsiteX13" fmla="*/ 58634 w 2846845"/>
                  <a:gd name="connsiteY13" fmla="*/ 1602540 h 2815223"/>
                  <a:gd name="connsiteX14" fmla="*/ 117001 w 2846845"/>
                  <a:gd name="connsiteY14" fmla="*/ 1091839 h 2815223"/>
                  <a:gd name="connsiteX0" fmla="*/ 117001 w 2846845"/>
                  <a:gd name="connsiteY0" fmla="*/ 1099926 h 2823310"/>
                  <a:gd name="connsiteX1" fmla="*/ 1007082 w 2846845"/>
                  <a:gd name="connsiteY1" fmla="*/ 127159 h 2823310"/>
                  <a:gd name="connsiteX2" fmla="*/ 1663699 w 2846845"/>
                  <a:gd name="connsiteY2" fmla="*/ 117432 h 2823310"/>
                  <a:gd name="connsiteX3" fmla="*/ 2568372 w 2846845"/>
                  <a:gd name="connsiteY3" fmla="*/ 248755 h 2823310"/>
                  <a:gd name="connsiteX4" fmla="*/ 2617010 w 2846845"/>
                  <a:gd name="connsiteY4" fmla="*/ 389808 h 2823310"/>
                  <a:gd name="connsiteX5" fmla="*/ 1566422 w 2846845"/>
                  <a:gd name="connsiteY5" fmla="*/ 472492 h 2823310"/>
                  <a:gd name="connsiteX6" fmla="*/ 1148132 w 2846845"/>
                  <a:gd name="connsiteY6" fmla="*/ 423854 h 2823310"/>
                  <a:gd name="connsiteX7" fmla="*/ 418558 w 2846845"/>
                  <a:gd name="connsiteY7" fmla="*/ 1236112 h 2823310"/>
                  <a:gd name="connsiteX8" fmla="*/ 399104 w 2846845"/>
                  <a:gd name="connsiteY8" fmla="*/ 1537670 h 2823310"/>
                  <a:gd name="connsiteX9" fmla="*/ 768755 w 2846845"/>
                  <a:gd name="connsiteY9" fmla="*/ 1926776 h 2823310"/>
                  <a:gd name="connsiteX10" fmla="*/ 934125 w 2846845"/>
                  <a:gd name="connsiteY10" fmla="*/ 2622304 h 2823310"/>
                  <a:gd name="connsiteX11" fmla="*/ 715252 w 2846845"/>
                  <a:gd name="connsiteY11" fmla="*/ 2811994 h 2823310"/>
                  <a:gd name="connsiteX12" fmla="*/ 452606 w 2846845"/>
                  <a:gd name="connsiteY12" fmla="*/ 2053236 h 2823310"/>
                  <a:gd name="connsiteX13" fmla="*/ 58634 w 2846845"/>
                  <a:gd name="connsiteY13" fmla="*/ 1610627 h 2823310"/>
                  <a:gd name="connsiteX14" fmla="*/ 117001 w 2846845"/>
                  <a:gd name="connsiteY14" fmla="*/ 1099926 h 2823310"/>
                  <a:gd name="connsiteX0" fmla="*/ 117001 w 2846845"/>
                  <a:gd name="connsiteY0" fmla="*/ 1095802 h 2819186"/>
                  <a:gd name="connsiteX1" fmla="*/ 1007082 w 2846845"/>
                  <a:gd name="connsiteY1" fmla="*/ 123035 h 2819186"/>
                  <a:gd name="connsiteX2" fmla="*/ 1663699 w 2846845"/>
                  <a:gd name="connsiteY2" fmla="*/ 113308 h 2819186"/>
                  <a:gd name="connsiteX3" fmla="*/ 2568372 w 2846845"/>
                  <a:gd name="connsiteY3" fmla="*/ 244631 h 2819186"/>
                  <a:gd name="connsiteX4" fmla="*/ 2617010 w 2846845"/>
                  <a:gd name="connsiteY4" fmla="*/ 385684 h 2819186"/>
                  <a:gd name="connsiteX5" fmla="*/ 1566422 w 2846845"/>
                  <a:gd name="connsiteY5" fmla="*/ 468368 h 2819186"/>
                  <a:gd name="connsiteX6" fmla="*/ 1148132 w 2846845"/>
                  <a:gd name="connsiteY6" fmla="*/ 419730 h 2819186"/>
                  <a:gd name="connsiteX7" fmla="*/ 418558 w 2846845"/>
                  <a:gd name="connsiteY7" fmla="*/ 1231988 h 2819186"/>
                  <a:gd name="connsiteX8" fmla="*/ 399104 w 2846845"/>
                  <a:gd name="connsiteY8" fmla="*/ 1533546 h 2819186"/>
                  <a:gd name="connsiteX9" fmla="*/ 768755 w 2846845"/>
                  <a:gd name="connsiteY9" fmla="*/ 1922652 h 2819186"/>
                  <a:gd name="connsiteX10" fmla="*/ 934125 w 2846845"/>
                  <a:gd name="connsiteY10" fmla="*/ 2618180 h 2819186"/>
                  <a:gd name="connsiteX11" fmla="*/ 715252 w 2846845"/>
                  <a:gd name="connsiteY11" fmla="*/ 2807870 h 2819186"/>
                  <a:gd name="connsiteX12" fmla="*/ 452606 w 2846845"/>
                  <a:gd name="connsiteY12" fmla="*/ 2049112 h 2819186"/>
                  <a:gd name="connsiteX13" fmla="*/ 58634 w 2846845"/>
                  <a:gd name="connsiteY13" fmla="*/ 1606503 h 2819186"/>
                  <a:gd name="connsiteX14" fmla="*/ 117001 w 2846845"/>
                  <a:gd name="connsiteY14" fmla="*/ 1095802 h 2819186"/>
                  <a:gd name="connsiteX0" fmla="*/ 117001 w 2846845"/>
                  <a:gd name="connsiteY0" fmla="*/ 1083122 h 2806506"/>
                  <a:gd name="connsiteX1" fmla="*/ 1007082 w 2846845"/>
                  <a:gd name="connsiteY1" fmla="*/ 110355 h 2806506"/>
                  <a:gd name="connsiteX2" fmla="*/ 1663699 w 2846845"/>
                  <a:gd name="connsiteY2" fmla="*/ 100628 h 2806506"/>
                  <a:gd name="connsiteX3" fmla="*/ 2568372 w 2846845"/>
                  <a:gd name="connsiteY3" fmla="*/ 231951 h 2806506"/>
                  <a:gd name="connsiteX4" fmla="*/ 2617010 w 2846845"/>
                  <a:gd name="connsiteY4" fmla="*/ 373004 h 2806506"/>
                  <a:gd name="connsiteX5" fmla="*/ 1566422 w 2846845"/>
                  <a:gd name="connsiteY5" fmla="*/ 455688 h 2806506"/>
                  <a:gd name="connsiteX6" fmla="*/ 1148132 w 2846845"/>
                  <a:gd name="connsiteY6" fmla="*/ 407050 h 2806506"/>
                  <a:gd name="connsiteX7" fmla="*/ 418558 w 2846845"/>
                  <a:gd name="connsiteY7" fmla="*/ 1219308 h 2806506"/>
                  <a:gd name="connsiteX8" fmla="*/ 399104 w 2846845"/>
                  <a:gd name="connsiteY8" fmla="*/ 1520866 h 2806506"/>
                  <a:gd name="connsiteX9" fmla="*/ 768755 w 2846845"/>
                  <a:gd name="connsiteY9" fmla="*/ 1909972 h 2806506"/>
                  <a:gd name="connsiteX10" fmla="*/ 934125 w 2846845"/>
                  <a:gd name="connsiteY10" fmla="*/ 2605500 h 2806506"/>
                  <a:gd name="connsiteX11" fmla="*/ 715252 w 2846845"/>
                  <a:gd name="connsiteY11" fmla="*/ 2795190 h 2806506"/>
                  <a:gd name="connsiteX12" fmla="*/ 452606 w 2846845"/>
                  <a:gd name="connsiteY12" fmla="*/ 2036432 h 2806506"/>
                  <a:gd name="connsiteX13" fmla="*/ 58634 w 2846845"/>
                  <a:gd name="connsiteY13" fmla="*/ 1593823 h 2806506"/>
                  <a:gd name="connsiteX14" fmla="*/ 117001 w 2846845"/>
                  <a:gd name="connsiteY14" fmla="*/ 1083122 h 2806506"/>
                  <a:gd name="connsiteX0" fmla="*/ 117001 w 2846845"/>
                  <a:gd name="connsiteY0" fmla="*/ 1083122 h 2806506"/>
                  <a:gd name="connsiteX1" fmla="*/ 1007082 w 2846845"/>
                  <a:gd name="connsiteY1" fmla="*/ 110355 h 2806506"/>
                  <a:gd name="connsiteX2" fmla="*/ 1639380 w 2846845"/>
                  <a:gd name="connsiteY2" fmla="*/ 100628 h 2806506"/>
                  <a:gd name="connsiteX3" fmla="*/ 2568372 w 2846845"/>
                  <a:gd name="connsiteY3" fmla="*/ 231951 h 2806506"/>
                  <a:gd name="connsiteX4" fmla="*/ 2617010 w 2846845"/>
                  <a:gd name="connsiteY4" fmla="*/ 373004 h 2806506"/>
                  <a:gd name="connsiteX5" fmla="*/ 1566422 w 2846845"/>
                  <a:gd name="connsiteY5" fmla="*/ 455688 h 2806506"/>
                  <a:gd name="connsiteX6" fmla="*/ 1148132 w 2846845"/>
                  <a:gd name="connsiteY6" fmla="*/ 407050 h 2806506"/>
                  <a:gd name="connsiteX7" fmla="*/ 418558 w 2846845"/>
                  <a:gd name="connsiteY7" fmla="*/ 1219308 h 2806506"/>
                  <a:gd name="connsiteX8" fmla="*/ 399104 w 2846845"/>
                  <a:gd name="connsiteY8" fmla="*/ 1520866 h 2806506"/>
                  <a:gd name="connsiteX9" fmla="*/ 768755 w 2846845"/>
                  <a:gd name="connsiteY9" fmla="*/ 1909972 h 2806506"/>
                  <a:gd name="connsiteX10" fmla="*/ 934125 w 2846845"/>
                  <a:gd name="connsiteY10" fmla="*/ 2605500 h 2806506"/>
                  <a:gd name="connsiteX11" fmla="*/ 715252 w 2846845"/>
                  <a:gd name="connsiteY11" fmla="*/ 2795190 h 2806506"/>
                  <a:gd name="connsiteX12" fmla="*/ 452606 w 2846845"/>
                  <a:gd name="connsiteY12" fmla="*/ 2036432 h 2806506"/>
                  <a:gd name="connsiteX13" fmla="*/ 58634 w 2846845"/>
                  <a:gd name="connsiteY13" fmla="*/ 1593823 h 2806506"/>
                  <a:gd name="connsiteX14" fmla="*/ 117001 w 2846845"/>
                  <a:gd name="connsiteY14" fmla="*/ 1083122 h 2806506"/>
                  <a:gd name="connsiteX0" fmla="*/ 117001 w 2846845"/>
                  <a:gd name="connsiteY0" fmla="*/ 1083122 h 2806506"/>
                  <a:gd name="connsiteX1" fmla="*/ 1007082 w 2846845"/>
                  <a:gd name="connsiteY1" fmla="*/ 110355 h 2806506"/>
                  <a:gd name="connsiteX2" fmla="*/ 1639380 w 2846845"/>
                  <a:gd name="connsiteY2" fmla="*/ 100628 h 2806506"/>
                  <a:gd name="connsiteX3" fmla="*/ 2568372 w 2846845"/>
                  <a:gd name="connsiteY3" fmla="*/ 231951 h 2806506"/>
                  <a:gd name="connsiteX4" fmla="*/ 2617010 w 2846845"/>
                  <a:gd name="connsiteY4" fmla="*/ 373004 h 2806506"/>
                  <a:gd name="connsiteX5" fmla="*/ 1566422 w 2846845"/>
                  <a:gd name="connsiteY5" fmla="*/ 455688 h 2806506"/>
                  <a:gd name="connsiteX6" fmla="*/ 1148132 w 2846845"/>
                  <a:gd name="connsiteY6" fmla="*/ 407050 h 2806506"/>
                  <a:gd name="connsiteX7" fmla="*/ 418558 w 2846845"/>
                  <a:gd name="connsiteY7" fmla="*/ 1219308 h 2806506"/>
                  <a:gd name="connsiteX8" fmla="*/ 399104 w 2846845"/>
                  <a:gd name="connsiteY8" fmla="*/ 1520866 h 2806506"/>
                  <a:gd name="connsiteX9" fmla="*/ 768755 w 2846845"/>
                  <a:gd name="connsiteY9" fmla="*/ 1909972 h 2806506"/>
                  <a:gd name="connsiteX10" fmla="*/ 934125 w 2846845"/>
                  <a:gd name="connsiteY10" fmla="*/ 2605500 h 2806506"/>
                  <a:gd name="connsiteX11" fmla="*/ 715252 w 2846845"/>
                  <a:gd name="connsiteY11" fmla="*/ 2795190 h 2806506"/>
                  <a:gd name="connsiteX12" fmla="*/ 452606 w 2846845"/>
                  <a:gd name="connsiteY12" fmla="*/ 2036432 h 2806506"/>
                  <a:gd name="connsiteX13" fmla="*/ 58634 w 2846845"/>
                  <a:gd name="connsiteY13" fmla="*/ 1593823 h 2806506"/>
                  <a:gd name="connsiteX14" fmla="*/ 117001 w 2846845"/>
                  <a:gd name="connsiteY14" fmla="*/ 1083122 h 2806506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768755 w 2846845"/>
                  <a:gd name="connsiteY9" fmla="*/ 1915683 h 2812217"/>
                  <a:gd name="connsiteX10" fmla="*/ 934125 w 2846845"/>
                  <a:gd name="connsiteY10" fmla="*/ 2611211 h 2812217"/>
                  <a:gd name="connsiteX11" fmla="*/ 715252 w 2846845"/>
                  <a:gd name="connsiteY11" fmla="*/ 2800901 h 2812217"/>
                  <a:gd name="connsiteX12" fmla="*/ 452606 w 2846845"/>
                  <a:gd name="connsiteY12" fmla="*/ 2042143 h 2812217"/>
                  <a:gd name="connsiteX13" fmla="*/ 58634 w 2846845"/>
                  <a:gd name="connsiteY13" fmla="*/ 1599534 h 2812217"/>
                  <a:gd name="connsiteX14" fmla="*/ 117001 w 2846845"/>
                  <a:gd name="connsiteY14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768755 w 2846845"/>
                  <a:gd name="connsiteY9" fmla="*/ 1915683 h 2812217"/>
                  <a:gd name="connsiteX10" fmla="*/ 934125 w 2846845"/>
                  <a:gd name="connsiteY10" fmla="*/ 2611211 h 2812217"/>
                  <a:gd name="connsiteX11" fmla="*/ 715252 w 2846845"/>
                  <a:gd name="connsiteY11" fmla="*/ 2800901 h 2812217"/>
                  <a:gd name="connsiteX12" fmla="*/ 452606 w 2846845"/>
                  <a:gd name="connsiteY12" fmla="*/ 2042143 h 2812217"/>
                  <a:gd name="connsiteX13" fmla="*/ 58634 w 2846845"/>
                  <a:gd name="connsiteY13" fmla="*/ 1599534 h 2812217"/>
                  <a:gd name="connsiteX14" fmla="*/ 117001 w 2846845"/>
                  <a:gd name="connsiteY14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768755 w 2846845"/>
                  <a:gd name="connsiteY9" fmla="*/ 1915683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58634 w 2846845"/>
                  <a:gd name="connsiteY14" fmla="*/ 1599534 h 2812217"/>
                  <a:gd name="connsiteX15" fmla="*/ 117001 w 2846845"/>
                  <a:gd name="connsiteY15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452606 w 2846845"/>
                  <a:gd name="connsiteY13" fmla="*/ 2042143 h 2812217"/>
                  <a:gd name="connsiteX14" fmla="*/ 316418 w 2846845"/>
                  <a:gd name="connsiteY14" fmla="*/ 1891366 h 2812217"/>
                  <a:gd name="connsiteX15" fmla="*/ 58634 w 2846845"/>
                  <a:gd name="connsiteY15" fmla="*/ 1599534 h 2812217"/>
                  <a:gd name="connsiteX16" fmla="*/ 117001 w 2846845"/>
                  <a:gd name="connsiteY16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520699 w 2846845"/>
                  <a:gd name="connsiteY13" fmla="*/ 2304792 h 2812217"/>
                  <a:gd name="connsiteX14" fmla="*/ 452606 w 2846845"/>
                  <a:gd name="connsiteY14" fmla="*/ 2042143 h 2812217"/>
                  <a:gd name="connsiteX15" fmla="*/ 316418 w 2846845"/>
                  <a:gd name="connsiteY15" fmla="*/ 1891366 h 2812217"/>
                  <a:gd name="connsiteX16" fmla="*/ 58634 w 2846845"/>
                  <a:gd name="connsiteY16" fmla="*/ 1599534 h 2812217"/>
                  <a:gd name="connsiteX17" fmla="*/ 117001 w 2846845"/>
                  <a:gd name="connsiteY17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520699 w 2846845"/>
                  <a:gd name="connsiteY13" fmla="*/ 2304792 h 2812217"/>
                  <a:gd name="connsiteX14" fmla="*/ 316418 w 2846845"/>
                  <a:gd name="connsiteY14" fmla="*/ 1891366 h 2812217"/>
                  <a:gd name="connsiteX15" fmla="*/ 58634 w 2846845"/>
                  <a:gd name="connsiteY15" fmla="*/ 1599534 h 2812217"/>
                  <a:gd name="connsiteX16" fmla="*/ 117001 w 2846845"/>
                  <a:gd name="connsiteY16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520699 w 2846845"/>
                  <a:gd name="connsiteY13" fmla="*/ 2304792 h 2812217"/>
                  <a:gd name="connsiteX14" fmla="*/ 316418 w 2846845"/>
                  <a:gd name="connsiteY14" fmla="*/ 1891366 h 2812217"/>
                  <a:gd name="connsiteX15" fmla="*/ 58634 w 2846845"/>
                  <a:gd name="connsiteY15" fmla="*/ 1599534 h 2812217"/>
                  <a:gd name="connsiteX16" fmla="*/ 117001 w 2846845"/>
                  <a:gd name="connsiteY16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520699 w 2846845"/>
                  <a:gd name="connsiteY13" fmla="*/ 2304792 h 2812217"/>
                  <a:gd name="connsiteX14" fmla="*/ 316418 w 2846845"/>
                  <a:gd name="connsiteY14" fmla="*/ 1891366 h 2812217"/>
                  <a:gd name="connsiteX15" fmla="*/ 58634 w 2846845"/>
                  <a:gd name="connsiteY15" fmla="*/ 1599534 h 2812217"/>
                  <a:gd name="connsiteX16" fmla="*/ 117001 w 2846845"/>
                  <a:gd name="connsiteY16" fmla="*/ 1088833 h 2812217"/>
                  <a:gd name="connsiteX0" fmla="*/ 117001 w 2846845"/>
                  <a:gd name="connsiteY0" fmla="*/ 1088833 h 2812217"/>
                  <a:gd name="connsiteX1" fmla="*/ 1007082 w 2846845"/>
                  <a:gd name="connsiteY1" fmla="*/ 116066 h 2812217"/>
                  <a:gd name="connsiteX2" fmla="*/ 1639380 w 2846845"/>
                  <a:gd name="connsiteY2" fmla="*/ 106339 h 2812217"/>
                  <a:gd name="connsiteX3" fmla="*/ 2568372 w 2846845"/>
                  <a:gd name="connsiteY3" fmla="*/ 237662 h 2812217"/>
                  <a:gd name="connsiteX4" fmla="*/ 2617010 w 2846845"/>
                  <a:gd name="connsiteY4" fmla="*/ 378715 h 2812217"/>
                  <a:gd name="connsiteX5" fmla="*/ 1566422 w 2846845"/>
                  <a:gd name="connsiteY5" fmla="*/ 461399 h 2812217"/>
                  <a:gd name="connsiteX6" fmla="*/ 1148132 w 2846845"/>
                  <a:gd name="connsiteY6" fmla="*/ 412761 h 2812217"/>
                  <a:gd name="connsiteX7" fmla="*/ 418558 w 2846845"/>
                  <a:gd name="connsiteY7" fmla="*/ 1225019 h 2812217"/>
                  <a:gd name="connsiteX8" fmla="*/ 399104 w 2846845"/>
                  <a:gd name="connsiteY8" fmla="*/ 1526577 h 2812217"/>
                  <a:gd name="connsiteX9" fmla="*/ 690934 w 2846845"/>
                  <a:gd name="connsiteY9" fmla="*/ 1832998 h 2812217"/>
                  <a:gd name="connsiteX10" fmla="*/ 827120 w 2846845"/>
                  <a:gd name="connsiteY10" fmla="*/ 2202651 h 2812217"/>
                  <a:gd name="connsiteX11" fmla="*/ 934125 w 2846845"/>
                  <a:gd name="connsiteY11" fmla="*/ 2611211 h 2812217"/>
                  <a:gd name="connsiteX12" fmla="*/ 715252 w 2846845"/>
                  <a:gd name="connsiteY12" fmla="*/ 2800901 h 2812217"/>
                  <a:gd name="connsiteX13" fmla="*/ 520699 w 2846845"/>
                  <a:gd name="connsiteY13" fmla="*/ 2304792 h 2812217"/>
                  <a:gd name="connsiteX14" fmla="*/ 296962 w 2846845"/>
                  <a:gd name="connsiteY14" fmla="*/ 1891366 h 2812217"/>
                  <a:gd name="connsiteX15" fmla="*/ 58634 w 2846845"/>
                  <a:gd name="connsiteY15" fmla="*/ 1599534 h 2812217"/>
                  <a:gd name="connsiteX16" fmla="*/ 117001 w 2846845"/>
                  <a:gd name="connsiteY16" fmla="*/ 1088833 h 2812217"/>
                  <a:gd name="connsiteX0" fmla="*/ 33194 w 2763038"/>
                  <a:gd name="connsiteY0" fmla="*/ 1088833 h 2812217"/>
                  <a:gd name="connsiteX1" fmla="*/ 923275 w 2763038"/>
                  <a:gd name="connsiteY1" fmla="*/ 116066 h 2812217"/>
                  <a:gd name="connsiteX2" fmla="*/ 1555573 w 2763038"/>
                  <a:gd name="connsiteY2" fmla="*/ 106339 h 2812217"/>
                  <a:gd name="connsiteX3" fmla="*/ 2484565 w 2763038"/>
                  <a:gd name="connsiteY3" fmla="*/ 237662 h 2812217"/>
                  <a:gd name="connsiteX4" fmla="*/ 2533203 w 2763038"/>
                  <a:gd name="connsiteY4" fmla="*/ 378715 h 2812217"/>
                  <a:gd name="connsiteX5" fmla="*/ 1482615 w 2763038"/>
                  <a:gd name="connsiteY5" fmla="*/ 461399 h 2812217"/>
                  <a:gd name="connsiteX6" fmla="*/ 1064325 w 2763038"/>
                  <a:gd name="connsiteY6" fmla="*/ 412761 h 2812217"/>
                  <a:gd name="connsiteX7" fmla="*/ 334751 w 2763038"/>
                  <a:gd name="connsiteY7" fmla="*/ 1225019 h 2812217"/>
                  <a:gd name="connsiteX8" fmla="*/ 315297 w 2763038"/>
                  <a:gd name="connsiteY8" fmla="*/ 1526577 h 2812217"/>
                  <a:gd name="connsiteX9" fmla="*/ 607127 w 2763038"/>
                  <a:gd name="connsiteY9" fmla="*/ 1832998 h 2812217"/>
                  <a:gd name="connsiteX10" fmla="*/ 743313 w 2763038"/>
                  <a:gd name="connsiteY10" fmla="*/ 2202651 h 2812217"/>
                  <a:gd name="connsiteX11" fmla="*/ 850318 w 2763038"/>
                  <a:gd name="connsiteY11" fmla="*/ 2611211 h 2812217"/>
                  <a:gd name="connsiteX12" fmla="*/ 631445 w 2763038"/>
                  <a:gd name="connsiteY12" fmla="*/ 2800901 h 2812217"/>
                  <a:gd name="connsiteX13" fmla="*/ 436892 w 2763038"/>
                  <a:gd name="connsiteY13" fmla="*/ 2304792 h 2812217"/>
                  <a:gd name="connsiteX14" fmla="*/ 213155 w 2763038"/>
                  <a:gd name="connsiteY14" fmla="*/ 1891366 h 2812217"/>
                  <a:gd name="connsiteX15" fmla="*/ 33194 w 2763038"/>
                  <a:gd name="connsiteY15" fmla="*/ 1088833 h 2812217"/>
                  <a:gd name="connsiteX0" fmla="*/ 95096 w 2824940"/>
                  <a:gd name="connsiteY0" fmla="*/ 1088833 h 2812217"/>
                  <a:gd name="connsiteX1" fmla="*/ 985177 w 2824940"/>
                  <a:gd name="connsiteY1" fmla="*/ 116066 h 2812217"/>
                  <a:gd name="connsiteX2" fmla="*/ 1617475 w 2824940"/>
                  <a:gd name="connsiteY2" fmla="*/ 106339 h 2812217"/>
                  <a:gd name="connsiteX3" fmla="*/ 2546467 w 2824940"/>
                  <a:gd name="connsiteY3" fmla="*/ 237662 h 2812217"/>
                  <a:gd name="connsiteX4" fmla="*/ 2595105 w 2824940"/>
                  <a:gd name="connsiteY4" fmla="*/ 378715 h 2812217"/>
                  <a:gd name="connsiteX5" fmla="*/ 1544517 w 2824940"/>
                  <a:gd name="connsiteY5" fmla="*/ 461399 h 2812217"/>
                  <a:gd name="connsiteX6" fmla="*/ 1126227 w 2824940"/>
                  <a:gd name="connsiteY6" fmla="*/ 412761 h 2812217"/>
                  <a:gd name="connsiteX7" fmla="*/ 396653 w 2824940"/>
                  <a:gd name="connsiteY7" fmla="*/ 1225019 h 2812217"/>
                  <a:gd name="connsiteX8" fmla="*/ 377199 w 2824940"/>
                  <a:gd name="connsiteY8" fmla="*/ 1526577 h 2812217"/>
                  <a:gd name="connsiteX9" fmla="*/ 669029 w 2824940"/>
                  <a:gd name="connsiteY9" fmla="*/ 1832998 h 2812217"/>
                  <a:gd name="connsiteX10" fmla="*/ 805215 w 2824940"/>
                  <a:gd name="connsiteY10" fmla="*/ 2202651 h 2812217"/>
                  <a:gd name="connsiteX11" fmla="*/ 912220 w 2824940"/>
                  <a:gd name="connsiteY11" fmla="*/ 2611211 h 2812217"/>
                  <a:gd name="connsiteX12" fmla="*/ 693347 w 2824940"/>
                  <a:gd name="connsiteY12" fmla="*/ 2800901 h 2812217"/>
                  <a:gd name="connsiteX13" fmla="*/ 498794 w 2824940"/>
                  <a:gd name="connsiteY13" fmla="*/ 2304792 h 2812217"/>
                  <a:gd name="connsiteX14" fmla="*/ 275057 w 2824940"/>
                  <a:gd name="connsiteY14" fmla="*/ 1891366 h 2812217"/>
                  <a:gd name="connsiteX15" fmla="*/ 95096 w 2824940"/>
                  <a:gd name="connsiteY15" fmla="*/ 1088833 h 2812217"/>
                  <a:gd name="connsiteX0" fmla="*/ 121910 w 2851754"/>
                  <a:gd name="connsiteY0" fmla="*/ 1088833 h 2812217"/>
                  <a:gd name="connsiteX1" fmla="*/ 1011991 w 2851754"/>
                  <a:gd name="connsiteY1" fmla="*/ 116066 h 2812217"/>
                  <a:gd name="connsiteX2" fmla="*/ 1644289 w 2851754"/>
                  <a:gd name="connsiteY2" fmla="*/ 106339 h 2812217"/>
                  <a:gd name="connsiteX3" fmla="*/ 2573281 w 2851754"/>
                  <a:gd name="connsiteY3" fmla="*/ 237662 h 2812217"/>
                  <a:gd name="connsiteX4" fmla="*/ 2621919 w 2851754"/>
                  <a:gd name="connsiteY4" fmla="*/ 378715 h 2812217"/>
                  <a:gd name="connsiteX5" fmla="*/ 1571331 w 2851754"/>
                  <a:gd name="connsiteY5" fmla="*/ 461399 h 2812217"/>
                  <a:gd name="connsiteX6" fmla="*/ 1153041 w 2851754"/>
                  <a:gd name="connsiteY6" fmla="*/ 412761 h 2812217"/>
                  <a:gd name="connsiteX7" fmla="*/ 423467 w 2851754"/>
                  <a:gd name="connsiteY7" fmla="*/ 1225019 h 2812217"/>
                  <a:gd name="connsiteX8" fmla="*/ 404013 w 2851754"/>
                  <a:gd name="connsiteY8" fmla="*/ 1526577 h 2812217"/>
                  <a:gd name="connsiteX9" fmla="*/ 695843 w 2851754"/>
                  <a:gd name="connsiteY9" fmla="*/ 1832998 h 2812217"/>
                  <a:gd name="connsiteX10" fmla="*/ 832029 w 2851754"/>
                  <a:gd name="connsiteY10" fmla="*/ 2202651 h 2812217"/>
                  <a:gd name="connsiteX11" fmla="*/ 939034 w 2851754"/>
                  <a:gd name="connsiteY11" fmla="*/ 2611211 h 2812217"/>
                  <a:gd name="connsiteX12" fmla="*/ 720161 w 2851754"/>
                  <a:gd name="connsiteY12" fmla="*/ 2800901 h 2812217"/>
                  <a:gd name="connsiteX13" fmla="*/ 525608 w 2851754"/>
                  <a:gd name="connsiteY13" fmla="*/ 2304792 h 2812217"/>
                  <a:gd name="connsiteX14" fmla="*/ 243505 w 2851754"/>
                  <a:gd name="connsiteY14" fmla="*/ 1842728 h 2812217"/>
                  <a:gd name="connsiteX15" fmla="*/ 121910 w 2851754"/>
                  <a:gd name="connsiteY15" fmla="*/ 1088833 h 2812217"/>
                  <a:gd name="connsiteX0" fmla="*/ 121910 w 2851754"/>
                  <a:gd name="connsiteY0" fmla="*/ 1088833 h 2812217"/>
                  <a:gd name="connsiteX1" fmla="*/ 1011991 w 2851754"/>
                  <a:gd name="connsiteY1" fmla="*/ 116066 h 2812217"/>
                  <a:gd name="connsiteX2" fmla="*/ 1644289 w 2851754"/>
                  <a:gd name="connsiteY2" fmla="*/ 106339 h 2812217"/>
                  <a:gd name="connsiteX3" fmla="*/ 2573281 w 2851754"/>
                  <a:gd name="connsiteY3" fmla="*/ 237662 h 2812217"/>
                  <a:gd name="connsiteX4" fmla="*/ 2621919 w 2851754"/>
                  <a:gd name="connsiteY4" fmla="*/ 378715 h 2812217"/>
                  <a:gd name="connsiteX5" fmla="*/ 1571331 w 2851754"/>
                  <a:gd name="connsiteY5" fmla="*/ 461399 h 2812217"/>
                  <a:gd name="connsiteX6" fmla="*/ 1153041 w 2851754"/>
                  <a:gd name="connsiteY6" fmla="*/ 412761 h 2812217"/>
                  <a:gd name="connsiteX7" fmla="*/ 423467 w 2851754"/>
                  <a:gd name="connsiteY7" fmla="*/ 1225019 h 2812217"/>
                  <a:gd name="connsiteX8" fmla="*/ 404013 w 2851754"/>
                  <a:gd name="connsiteY8" fmla="*/ 1526577 h 2812217"/>
                  <a:gd name="connsiteX9" fmla="*/ 695843 w 2851754"/>
                  <a:gd name="connsiteY9" fmla="*/ 1832998 h 2812217"/>
                  <a:gd name="connsiteX10" fmla="*/ 832029 w 2851754"/>
                  <a:gd name="connsiteY10" fmla="*/ 2202651 h 2812217"/>
                  <a:gd name="connsiteX11" fmla="*/ 939034 w 2851754"/>
                  <a:gd name="connsiteY11" fmla="*/ 2611211 h 2812217"/>
                  <a:gd name="connsiteX12" fmla="*/ 720161 w 2851754"/>
                  <a:gd name="connsiteY12" fmla="*/ 2800901 h 2812217"/>
                  <a:gd name="connsiteX13" fmla="*/ 525608 w 2851754"/>
                  <a:gd name="connsiteY13" fmla="*/ 2304792 h 2812217"/>
                  <a:gd name="connsiteX14" fmla="*/ 243505 w 2851754"/>
                  <a:gd name="connsiteY14" fmla="*/ 1823273 h 2812217"/>
                  <a:gd name="connsiteX15" fmla="*/ 121910 w 2851754"/>
                  <a:gd name="connsiteY15" fmla="*/ 1088833 h 2812217"/>
                  <a:gd name="connsiteX0" fmla="*/ 98893 w 2828737"/>
                  <a:gd name="connsiteY0" fmla="*/ 1088833 h 2812217"/>
                  <a:gd name="connsiteX1" fmla="*/ 988974 w 2828737"/>
                  <a:gd name="connsiteY1" fmla="*/ 116066 h 2812217"/>
                  <a:gd name="connsiteX2" fmla="*/ 1621272 w 2828737"/>
                  <a:gd name="connsiteY2" fmla="*/ 106339 h 2812217"/>
                  <a:gd name="connsiteX3" fmla="*/ 2550264 w 2828737"/>
                  <a:gd name="connsiteY3" fmla="*/ 237662 h 2812217"/>
                  <a:gd name="connsiteX4" fmla="*/ 2598902 w 2828737"/>
                  <a:gd name="connsiteY4" fmla="*/ 378715 h 2812217"/>
                  <a:gd name="connsiteX5" fmla="*/ 1548314 w 2828737"/>
                  <a:gd name="connsiteY5" fmla="*/ 461399 h 2812217"/>
                  <a:gd name="connsiteX6" fmla="*/ 1130024 w 2828737"/>
                  <a:gd name="connsiteY6" fmla="*/ 412761 h 2812217"/>
                  <a:gd name="connsiteX7" fmla="*/ 400450 w 2828737"/>
                  <a:gd name="connsiteY7" fmla="*/ 1225019 h 2812217"/>
                  <a:gd name="connsiteX8" fmla="*/ 380996 w 2828737"/>
                  <a:gd name="connsiteY8" fmla="*/ 1526577 h 2812217"/>
                  <a:gd name="connsiteX9" fmla="*/ 672826 w 2828737"/>
                  <a:gd name="connsiteY9" fmla="*/ 1832998 h 2812217"/>
                  <a:gd name="connsiteX10" fmla="*/ 809012 w 2828737"/>
                  <a:gd name="connsiteY10" fmla="*/ 2202651 h 2812217"/>
                  <a:gd name="connsiteX11" fmla="*/ 916017 w 2828737"/>
                  <a:gd name="connsiteY11" fmla="*/ 2611211 h 2812217"/>
                  <a:gd name="connsiteX12" fmla="*/ 697144 w 2828737"/>
                  <a:gd name="connsiteY12" fmla="*/ 2800901 h 2812217"/>
                  <a:gd name="connsiteX13" fmla="*/ 502591 w 2828737"/>
                  <a:gd name="connsiteY13" fmla="*/ 2304792 h 2812217"/>
                  <a:gd name="connsiteX14" fmla="*/ 220488 w 2828737"/>
                  <a:gd name="connsiteY14" fmla="*/ 1823273 h 2812217"/>
                  <a:gd name="connsiteX15" fmla="*/ 98893 w 2828737"/>
                  <a:gd name="connsiteY15" fmla="*/ 1088833 h 2812217"/>
                  <a:gd name="connsiteX0" fmla="*/ 98893 w 2828737"/>
                  <a:gd name="connsiteY0" fmla="*/ 1088833 h 2812217"/>
                  <a:gd name="connsiteX1" fmla="*/ 988974 w 2828737"/>
                  <a:gd name="connsiteY1" fmla="*/ 116066 h 2812217"/>
                  <a:gd name="connsiteX2" fmla="*/ 1621272 w 2828737"/>
                  <a:gd name="connsiteY2" fmla="*/ 106339 h 2812217"/>
                  <a:gd name="connsiteX3" fmla="*/ 2550264 w 2828737"/>
                  <a:gd name="connsiteY3" fmla="*/ 237662 h 2812217"/>
                  <a:gd name="connsiteX4" fmla="*/ 2598902 w 2828737"/>
                  <a:gd name="connsiteY4" fmla="*/ 378715 h 2812217"/>
                  <a:gd name="connsiteX5" fmla="*/ 1548314 w 2828737"/>
                  <a:gd name="connsiteY5" fmla="*/ 461399 h 2812217"/>
                  <a:gd name="connsiteX6" fmla="*/ 1130024 w 2828737"/>
                  <a:gd name="connsiteY6" fmla="*/ 412761 h 2812217"/>
                  <a:gd name="connsiteX7" fmla="*/ 400450 w 2828737"/>
                  <a:gd name="connsiteY7" fmla="*/ 1225019 h 2812217"/>
                  <a:gd name="connsiteX8" fmla="*/ 380996 w 2828737"/>
                  <a:gd name="connsiteY8" fmla="*/ 1526577 h 2812217"/>
                  <a:gd name="connsiteX9" fmla="*/ 672826 w 2828737"/>
                  <a:gd name="connsiteY9" fmla="*/ 1832998 h 2812217"/>
                  <a:gd name="connsiteX10" fmla="*/ 809012 w 2828737"/>
                  <a:gd name="connsiteY10" fmla="*/ 2202651 h 2812217"/>
                  <a:gd name="connsiteX11" fmla="*/ 916017 w 2828737"/>
                  <a:gd name="connsiteY11" fmla="*/ 2611211 h 2812217"/>
                  <a:gd name="connsiteX12" fmla="*/ 697144 w 2828737"/>
                  <a:gd name="connsiteY12" fmla="*/ 2800901 h 2812217"/>
                  <a:gd name="connsiteX13" fmla="*/ 502591 w 2828737"/>
                  <a:gd name="connsiteY13" fmla="*/ 2304792 h 2812217"/>
                  <a:gd name="connsiteX14" fmla="*/ 220488 w 2828737"/>
                  <a:gd name="connsiteY14" fmla="*/ 1823273 h 2812217"/>
                  <a:gd name="connsiteX15" fmla="*/ 98893 w 2828737"/>
                  <a:gd name="connsiteY15" fmla="*/ 1088833 h 2812217"/>
                  <a:gd name="connsiteX0" fmla="*/ 98893 w 2828737"/>
                  <a:gd name="connsiteY0" fmla="*/ 1088833 h 2812217"/>
                  <a:gd name="connsiteX1" fmla="*/ 988974 w 2828737"/>
                  <a:gd name="connsiteY1" fmla="*/ 116066 h 2812217"/>
                  <a:gd name="connsiteX2" fmla="*/ 1621272 w 2828737"/>
                  <a:gd name="connsiteY2" fmla="*/ 106339 h 2812217"/>
                  <a:gd name="connsiteX3" fmla="*/ 2550264 w 2828737"/>
                  <a:gd name="connsiteY3" fmla="*/ 237662 h 2812217"/>
                  <a:gd name="connsiteX4" fmla="*/ 2598902 w 2828737"/>
                  <a:gd name="connsiteY4" fmla="*/ 378715 h 2812217"/>
                  <a:gd name="connsiteX5" fmla="*/ 1548314 w 2828737"/>
                  <a:gd name="connsiteY5" fmla="*/ 461399 h 2812217"/>
                  <a:gd name="connsiteX6" fmla="*/ 1130024 w 2828737"/>
                  <a:gd name="connsiteY6" fmla="*/ 412761 h 2812217"/>
                  <a:gd name="connsiteX7" fmla="*/ 400450 w 2828737"/>
                  <a:gd name="connsiteY7" fmla="*/ 1225019 h 2812217"/>
                  <a:gd name="connsiteX8" fmla="*/ 380996 w 2828737"/>
                  <a:gd name="connsiteY8" fmla="*/ 1526577 h 2812217"/>
                  <a:gd name="connsiteX9" fmla="*/ 672826 w 2828737"/>
                  <a:gd name="connsiteY9" fmla="*/ 1832998 h 2812217"/>
                  <a:gd name="connsiteX10" fmla="*/ 809012 w 2828737"/>
                  <a:gd name="connsiteY10" fmla="*/ 2202651 h 2812217"/>
                  <a:gd name="connsiteX11" fmla="*/ 916017 w 2828737"/>
                  <a:gd name="connsiteY11" fmla="*/ 2611211 h 2812217"/>
                  <a:gd name="connsiteX12" fmla="*/ 697144 w 2828737"/>
                  <a:gd name="connsiteY12" fmla="*/ 2800901 h 2812217"/>
                  <a:gd name="connsiteX13" fmla="*/ 502591 w 2828737"/>
                  <a:gd name="connsiteY13" fmla="*/ 2304792 h 2812217"/>
                  <a:gd name="connsiteX14" fmla="*/ 220488 w 2828737"/>
                  <a:gd name="connsiteY14" fmla="*/ 1823273 h 2812217"/>
                  <a:gd name="connsiteX15" fmla="*/ 98893 w 2828737"/>
                  <a:gd name="connsiteY15" fmla="*/ 1088833 h 2812217"/>
                  <a:gd name="connsiteX0" fmla="*/ 98893 w 2828737"/>
                  <a:gd name="connsiteY0" fmla="*/ 1088833 h 2812217"/>
                  <a:gd name="connsiteX1" fmla="*/ 988974 w 2828737"/>
                  <a:gd name="connsiteY1" fmla="*/ 116066 h 2812217"/>
                  <a:gd name="connsiteX2" fmla="*/ 1621272 w 2828737"/>
                  <a:gd name="connsiteY2" fmla="*/ 106339 h 2812217"/>
                  <a:gd name="connsiteX3" fmla="*/ 2550264 w 2828737"/>
                  <a:gd name="connsiteY3" fmla="*/ 237662 h 2812217"/>
                  <a:gd name="connsiteX4" fmla="*/ 2598902 w 2828737"/>
                  <a:gd name="connsiteY4" fmla="*/ 378715 h 2812217"/>
                  <a:gd name="connsiteX5" fmla="*/ 1548314 w 2828737"/>
                  <a:gd name="connsiteY5" fmla="*/ 461399 h 2812217"/>
                  <a:gd name="connsiteX6" fmla="*/ 1130024 w 2828737"/>
                  <a:gd name="connsiteY6" fmla="*/ 412761 h 2812217"/>
                  <a:gd name="connsiteX7" fmla="*/ 400450 w 2828737"/>
                  <a:gd name="connsiteY7" fmla="*/ 1225019 h 2812217"/>
                  <a:gd name="connsiteX8" fmla="*/ 380996 w 2828737"/>
                  <a:gd name="connsiteY8" fmla="*/ 1526577 h 2812217"/>
                  <a:gd name="connsiteX9" fmla="*/ 672826 w 2828737"/>
                  <a:gd name="connsiteY9" fmla="*/ 1832998 h 2812217"/>
                  <a:gd name="connsiteX10" fmla="*/ 809012 w 2828737"/>
                  <a:gd name="connsiteY10" fmla="*/ 2202651 h 2812217"/>
                  <a:gd name="connsiteX11" fmla="*/ 916017 w 2828737"/>
                  <a:gd name="connsiteY11" fmla="*/ 2611211 h 2812217"/>
                  <a:gd name="connsiteX12" fmla="*/ 697144 w 2828737"/>
                  <a:gd name="connsiteY12" fmla="*/ 2800901 h 2812217"/>
                  <a:gd name="connsiteX13" fmla="*/ 502591 w 2828737"/>
                  <a:gd name="connsiteY13" fmla="*/ 2304792 h 2812217"/>
                  <a:gd name="connsiteX14" fmla="*/ 220488 w 2828737"/>
                  <a:gd name="connsiteY14" fmla="*/ 1823273 h 2812217"/>
                  <a:gd name="connsiteX15" fmla="*/ 98893 w 2828737"/>
                  <a:gd name="connsiteY15" fmla="*/ 1088833 h 2812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28737" h="2812217">
                    <a:moveTo>
                      <a:pt x="98893" y="1088833"/>
                    </a:moveTo>
                    <a:lnTo>
                      <a:pt x="988974" y="116066"/>
                    </a:lnTo>
                    <a:cubicBezTo>
                      <a:pt x="1237028" y="-91457"/>
                      <a:pt x="1475359" y="26896"/>
                      <a:pt x="1621272" y="106339"/>
                    </a:cubicBezTo>
                    <a:cubicBezTo>
                      <a:pt x="1810961" y="223070"/>
                      <a:pt x="1859599" y="480854"/>
                      <a:pt x="2550264" y="237662"/>
                    </a:cubicBezTo>
                    <a:cubicBezTo>
                      <a:pt x="3031783" y="163893"/>
                      <a:pt x="2780485" y="263604"/>
                      <a:pt x="2598902" y="378715"/>
                    </a:cubicBezTo>
                    <a:cubicBezTo>
                      <a:pt x="2388135" y="493827"/>
                      <a:pt x="2276268" y="900764"/>
                      <a:pt x="1548314" y="461399"/>
                    </a:cubicBezTo>
                    <a:cubicBezTo>
                      <a:pt x="1345654" y="231178"/>
                      <a:pt x="1191633" y="331698"/>
                      <a:pt x="1130024" y="412761"/>
                    </a:cubicBezTo>
                    <a:lnTo>
                      <a:pt x="400450" y="1225019"/>
                    </a:lnTo>
                    <a:cubicBezTo>
                      <a:pt x="269938" y="1340129"/>
                      <a:pt x="328305" y="1447946"/>
                      <a:pt x="380996" y="1526577"/>
                    </a:cubicBezTo>
                    <a:cubicBezTo>
                      <a:pt x="462061" y="1650605"/>
                      <a:pt x="544746" y="1661953"/>
                      <a:pt x="672826" y="1832998"/>
                    </a:cubicBezTo>
                    <a:cubicBezTo>
                      <a:pt x="812256" y="1950541"/>
                      <a:pt x="781450" y="2086730"/>
                      <a:pt x="809012" y="2202651"/>
                    </a:cubicBezTo>
                    <a:cubicBezTo>
                      <a:pt x="831709" y="2401257"/>
                      <a:pt x="895751" y="2530959"/>
                      <a:pt x="916017" y="2611211"/>
                    </a:cubicBezTo>
                    <a:cubicBezTo>
                      <a:pt x="821171" y="2696329"/>
                      <a:pt x="678499" y="2856024"/>
                      <a:pt x="697144" y="2800901"/>
                    </a:cubicBezTo>
                    <a:cubicBezTo>
                      <a:pt x="628240" y="2749831"/>
                      <a:pt x="554471" y="2548794"/>
                      <a:pt x="502591" y="2304792"/>
                    </a:cubicBezTo>
                    <a:cubicBezTo>
                      <a:pt x="513940" y="1968378"/>
                      <a:pt x="326682" y="1955407"/>
                      <a:pt x="220488" y="1823273"/>
                    </a:cubicBezTo>
                    <a:cubicBezTo>
                      <a:pt x="-85124" y="1523337"/>
                      <a:pt x="-19460" y="1384716"/>
                      <a:pt x="98893" y="1088833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" name="Freeform 172"/>
              <p:cNvSpPr/>
              <p:nvPr/>
            </p:nvSpPr>
            <p:spPr>
              <a:xfrm rot="13561719">
                <a:off x="6341262" y="5043081"/>
                <a:ext cx="114059" cy="51628"/>
              </a:xfrm>
              <a:custGeom>
                <a:avLst/>
                <a:gdLst>
                  <a:gd name="connsiteX0" fmla="*/ 2919340 w 3034342"/>
                  <a:gd name="connsiteY0" fmla="*/ 983691 h 1373490"/>
                  <a:gd name="connsiteX1" fmla="*/ 2641702 w 3034342"/>
                  <a:gd name="connsiteY1" fmla="*/ 1098692 h 1373490"/>
                  <a:gd name="connsiteX2" fmla="*/ 2641703 w 3034342"/>
                  <a:gd name="connsiteY2" fmla="*/ 1098691 h 1373490"/>
                  <a:gd name="connsiteX3" fmla="*/ 2279920 w 3034342"/>
                  <a:gd name="connsiteY3" fmla="*/ 858885 h 1373490"/>
                  <a:gd name="connsiteX4" fmla="*/ 2265342 w 3034342"/>
                  <a:gd name="connsiteY4" fmla="*/ 811923 h 1373490"/>
                  <a:gd name="connsiteX5" fmla="*/ 2261956 w 3034342"/>
                  <a:gd name="connsiteY5" fmla="*/ 822831 h 1373490"/>
                  <a:gd name="connsiteX6" fmla="*/ 2174458 w 3034342"/>
                  <a:gd name="connsiteY6" fmla="*/ 952607 h 1373490"/>
                  <a:gd name="connsiteX7" fmla="*/ 1885762 w 3034342"/>
                  <a:gd name="connsiteY7" fmla="*/ 1072190 h 1373490"/>
                  <a:gd name="connsiteX8" fmla="*/ 1885762 w 3034342"/>
                  <a:gd name="connsiteY8" fmla="*/ 1072189 h 1373490"/>
                  <a:gd name="connsiteX9" fmla="*/ 1547211 w 3034342"/>
                  <a:gd name="connsiteY9" fmla="*/ 892182 h 1373490"/>
                  <a:gd name="connsiteX10" fmla="*/ 1543596 w 3034342"/>
                  <a:gd name="connsiteY10" fmla="*/ 885521 h 1373490"/>
                  <a:gd name="connsiteX11" fmla="*/ 1540499 w 3034342"/>
                  <a:gd name="connsiteY11" fmla="*/ 916235 h 1373490"/>
                  <a:gd name="connsiteX12" fmla="*/ 1433405 w 3034342"/>
                  <a:gd name="connsiteY12" fmla="*/ 1114872 h 1373490"/>
                  <a:gd name="connsiteX13" fmla="*/ 1155585 w 3034342"/>
                  <a:gd name="connsiteY13" fmla="*/ 1229949 h 1373490"/>
                  <a:gd name="connsiteX14" fmla="*/ 1114820 w 3034342"/>
                  <a:gd name="connsiteY14" fmla="*/ 1229949 h 1373490"/>
                  <a:gd name="connsiteX15" fmla="*/ 789023 w 3034342"/>
                  <a:gd name="connsiteY15" fmla="*/ 1056724 h 1373490"/>
                  <a:gd name="connsiteX16" fmla="*/ 787530 w 3034342"/>
                  <a:gd name="connsiteY16" fmla="*/ 1053973 h 1373490"/>
                  <a:gd name="connsiteX17" fmla="*/ 768370 w 3034342"/>
                  <a:gd name="connsiteY17" fmla="*/ 1118431 h 1373490"/>
                  <a:gd name="connsiteX18" fmla="*/ 399898 w 3034342"/>
                  <a:gd name="connsiteY18" fmla="*/ 1373490 h 1373490"/>
                  <a:gd name="connsiteX19" fmla="*/ 0 w 3034342"/>
                  <a:gd name="connsiteY19" fmla="*/ 955877 h 1373490"/>
                  <a:gd name="connsiteX20" fmla="*/ 399898 w 3034342"/>
                  <a:gd name="connsiteY20" fmla="*/ 538264 h 1373490"/>
                  <a:gd name="connsiteX21" fmla="*/ 682669 w 3034342"/>
                  <a:gd name="connsiteY21" fmla="*/ 660580 h 1373490"/>
                  <a:gd name="connsiteX22" fmla="*/ 721923 w 3034342"/>
                  <a:gd name="connsiteY22" fmla="*/ 710264 h 1373490"/>
                  <a:gd name="connsiteX23" fmla="*/ 721923 w 3034342"/>
                  <a:gd name="connsiteY23" fmla="*/ 662287 h 1373490"/>
                  <a:gd name="connsiteX24" fmla="*/ 1114820 w 3034342"/>
                  <a:gd name="connsiteY24" fmla="*/ 269390 h 1373490"/>
                  <a:gd name="connsiteX25" fmla="*/ 1155585 w 3034342"/>
                  <a:gd name="connsiteY25" fmla="*/ 269390 h 1373490"/>
                  <a:gd name="connsiteX26" fmla="*/ 1433405 w 3034342"/>
                  <a:gd name="connsiteY26" fmla="*/ 384467 h 1373490"/>
                  <a:gd name="connsiteX27" fmla="*/ 1477483 w 3034342"/>
                  <a:gd name="connsiteY27" fmla="*/ 437891 h 1373490"/>
                  <a:gd name="connsiteX28" fmla="*/ 1477483 w 3034342"/>
                  <a:gd name="connsiteY28" fmla="*/ 408279 h 1373490"/>
                  <a:gd name="connsiteX29" fmla="*/ 1885762 w 3034342"/>
                  <a:gd name="connsiteY29" fmla="*/ 0 h 1373490"/>
                  <a:gd name="connsiteX30" fmla="*/ 2285747 w 3034342"/>
                  <a:gd name="connsiteY30" fmla="*/ 325996 h 1373490"/>
                  <a:gd name="connsiteX31" fmla="*/ 2290609 w 3034342"/>
                  <a:gd name="connsiteY31" fmla="*/ 374229 h 1373490"/>
                  <a:gd name="connsiteX32" fmla="*/ 2316121 w 3034342"/>
                  <a:gd name="connsiteY32" fmla="*/ 327227 h 1373490"/>
                  <a:gd name="connsiteX33" fmla="*/ 2641703 w 3034342"/>
                  <a:gd name="connsiteY33" fmla="*/ 154117 h 1373490"/>
                  <a:gd name="connsiteX34" fmla="*/ 3034342 w 3034342"/>
                  <a:gd name="connsiteY34" fmla="*/ 546756 h 1373490"/>
                  <a:gd name="connsiteX35" fmla="*/ 3034341 w 3034342"/>
                  <a:gd name="connsiteY35" fmla="*/ 706053 h 1373490"/>
                  <a:gd name="connsiteX36" fmla="*/ 2919340 w 3034342"/>
                  <a:gd name="connsiteY36" fmla="*/ 983691 h 1373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3034342" h="1373490">
                    <a:moveTo>
                      <a:pt x="2919340" y="983691"/>
                    </a:moveTo>
                    <a:cubicBezTo>
                      <a:pt x="2848286" y="1054744"/>
                      <a:pt x="2750127" y="1098692"/>
                      <a:pt x="2641702" y="1098692"/>
                    </a:cubicBezTo>
                    <a:lnTo>
                      <a:pt x="2641703" y="1098691"/>
                    </a:lnTo>
                    <a:cubicBezTo>
                      <a:pt x="2479067" y="1098691"/>
                      <a:pt x="2339525" y="999809"/>
                      <a:pt x="2279920" y="858885"/>
                    </a:cubicBezTo>
                    <a:lnTo>
                      <a:pt x="2265342" y="811923"/>
                    </a:lnTo>
                    <a:lnTo>
                      <a:pt x="2261956" y="822831"/>
                    </a:lnTo>
                    <a:cubicBezTo>
                      <a:pt x="2241296" y="871677"/>
                      <a:pt x="2211400" y="915665"/>
                      <a:pt x="2174458" y="952607"/>
                    </a:cubicBezTo>
                    <a:cubicBezTo>
                      <a:pt x="2100574" y="1026491"/>
                      <a:pt x="1998504" y="1072190"/>
                      <a:pt x="1885762" y="1072190"/>
                    </a:cubicBezTo>
                    <a:lnTo>
                      <a:pt x="1885762" y="1072189"/>
                    </a:lnTo>
                    <a:cubicBezTo>
                      <a:pt x="1744834" y="1072189"/>
                      <a:pt x="1620582" y="1000785"/>
                      <a:pt x="1547211" y="892182"/>
                    </a:cubicBezTo>
                    <a:lnTo>
                      <a:pt x="1543596" y="885521"/>
                    </a:lnTo>
                    <a:lnTo>
                      <a:pt x="1540499" y="916235"/>
                    </a:lnTo>
                    <a:cubicBezTo>
                      <a:pt x="1524798" y="992965"/>
                      <a:pt x="1486730" y="1061547"/>
                      <a:pt x="1433405" y="1114872"/>
                    </a:cubicBezTo>
                    <a:cubicBezTo>
                      <a:pt x="1362305" y="1185973"/>
                      <a:pt x="1264080" y="1229949"/>
                      <a:pt x="1155585" y="1229949"/>
                    </a:cubicBezTo>
                    <a:lnTo>
                      <a:pt x="1114820" y="1229949"/>
                    </a:lnTo>
                    <a:cubicBezTo>
                      <a:pt x="979200" y="1229949"/>
                      <a:pt x="859630" y="1161236"/>
                      <a:pt x="789023" y="1056724"/>
                    </a:cubicBezTo>
                    <a:lnTo>
                      <a:pt x="787530" y="1053973"/>
                    </a:lnTo>
                    <a:lnTo>
                      <a:pt x="768370" y="1118431"/>
                    </a:lnTo>
                    <a:cubicBezTo>
                      <a:pt x="707662" y="1268318"/>
                      <a:pt x="565541" y="1373490"/>
                      <a:pt x="399898" y="1373490"/>
                    </a:cubicBezTo>
                    <a:cubicBezTo>
                      <a:pt x="179040" y="1373490"/>
                      <a:pt x="0" y="1186518"/>
                      <a:pt x="0" y="955877"/>
                    </a:cubicBezTo>
                    <a:cubicBezTo>
                      <a:pt x="0" y="725236"/>
                      <a:pt x="179040" y="538264"/>
                      <a:pt x="399898" y="538264"/>
                    </a:cubicBezTo>
                    <a:cubicBezTo>
                      <a:pt x="510327" y="538264"/>
                      <a:pt x="610301" y="585007"/>
                      <a:pt x="682669" y="660580"/>
                    </a:cubicBezTo>
                    <a:lnTo>
                      <a:pt x="721923" y="710264"/>
                    </a:lnTo>
                    <a:lnTo>
                      <a:pt x="721923" y="662287"/>
                    </a:lnTo>
                    <a:cubicBezTo>
                      <a:pt x="721923" y="445296"/>
                      <a:pt x="897829" y="269390"/>
                      <a:pt x="1114820" y="269390"/>
                    </a:cubicBezTo>
                    <a:lnTo>
                      <a:pt x="1155585" y="269390"/>
                    </a:lnTo>
                    <a:cubicBezTo>
                      <a:pt x="1264080" y="269390"/>
                      <a:pt x="1362304" y="313367"/>
                      <a:pt x="1433405" y="384467"/>
                    </a:cubicBezTo>
                    <a:lnTo>
                      <a:pt x="1477483" y="437891"/>
                    </a:lnTo>
                    <a:lnTo>
                      <a:pt x="1477483" y="408279"/>
                    </a:lnTo>
                    <a:cubicBezTo>
                      <a:pt x="1477483" y="182793"/>
                      <a:pt x="1660277" y="0"/>
                      <a:pt x="1885762" y="0"/>
                    </a:cubicBezTo>
                    <a:cubicBezTo>
                      <a:pt x="2083063" y="0"/>
                      <a:pt x="2247676" y="139951"/>
                      <a:pt x="2285747" y="325996"/>
                    </a:cubicBezTo>
                    <a:lnTo>
                      <a:pt x="2290609" y="374229"/>
                    </a:lnTo>
                    <a:lnTo>
                      <a:pt x="2316121" y="327227"/>
                    </a:lnTo>
                    <a:cubicBezTo>
                      <a:pt x="2386681" y="222784"/>
                      <a:pt x="2506173" y="154117"/>
                      <a:pt x="2641703" y="154117"/>
                    </a:cubicBezTo>
                    <a:cubicBezTo>
                      <a:pt x="2858552" y="154117"/>
                      <a:pt x="3034342" y="329907"/>
                      <a:pt x="3034342" y="546756"/>
                    </a:cubicBezTo>
                    <a:cubicBezTo>
                      <a:pt x="3034342" y="599855"/>
                      <a:pt x="3034341" y="652954"/>
                      <a:pt x="3034341" y="706053"/>
                    </a:cubicBezTo>
                    <a:cubicBezTo>
                      <a:pt x="3034341" y="814477"/>
                      <a:pt x="2990394" y="912637"/>
                      <a:pt x="2919340" y="983691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" name="Rectangle 4"/>
              <p:cNvSpPr/>
              <p:nvPr/>
            </p:nvSpPr>
            <p:spPr>
              <a:xfrm>
                <a:off x="6454472" y="4974648"/>
                <a:ext cx="83446" cy="136386"/>
              </a:xfrm>
              <a:custGeom>
                <a:avLst/>
                <a:gdLst>
                  <a:gd name="connsiteX0" fmla="*/ 0 w 1431890"/>
                  <a:gd name="connsiteY0" fmla="*/ 0 h 2160396"/>
                  <a:gd name="connsiteX1" fmla="*/ 1431890 w 1431890"/>
                  <a:gd name="connsiteY1" fmla="*/ 0 h 2160396"/>
                  <a:gd name="connsiteX2" fmla="*/ 1431890 w 1431890"/>
                  <a:gd name="connsiteY2" fmla="*/ 2160396 h 2160396"/>
                  <a:gd name="connsiteX3" fmla="*/ 0 w 1431890"/>
                  <a:gd name="connsiteY3" fmla="*/ 2160396 h 2160396"/>
                  <a:gd name="connsiteX4" fmla="*/ 0 w 1431890"/>
                  <a:gd name="connsiteY4" fmla="*/ 0 h 2160396"/>
                  <a:gd name="connsiteX0" fmla="*/ 266282 w 1698172"/>
                  <a:gd name="connsiteY0" fmla="*/ 0 h 2356338"/>
                  <a:gd name="connsiteX1" fmla="*/ 1698172 w 1698172"/>
                  <a:gd name="connsiteY1" fmla="*/ 0 h 2356338"/>
                  <a:gd name="connsiteX2" fmla="*/ 1698172 w 1698172"/>
                  <a:gd name="connsiteY2" fmla="*/ 2160396 h 2356338"/>
                  <a:gd name="connsiteX3" fmla="*/ 0 w 1698172"/>
                  <a:gd name="connsiteY3" fmla="*/ 2356338 h 2356338"/>
                  <a:gd name="connsiteX4" fmla="*/ 266282 w 1698172"/>
                  <a:gd name="connsiteY4" fmla="*/ 0 h 2356338"/>
                  <a:gd name="connsiteX0" fmla="*/ 266282 w 1698172"/>
                  <a:gd name="connsiteY0" fmla="*/ 0 h 2356338"/>
                  <a:gd name="connsiteX1" fmla="*/ 1698172 w 1698172"/>
                  <a:gd name="connsiteY1" fmla="*/ 0 h 2356338"/>
                  <a:gd name="connsiteX2" fmla="*/ 839038 w 1698172"/>
                  <a:gd name="connsiteY2" fmla="*/ 2105130 h 2356338"/>
                  <a:gd name="connsiteX3" fmla="*/ 0 w 1698172"/>
                  <a:gd name="connsiteY3" fmla="*/ 2356338 h 2356338"/>
                  <a:gd name="connsiteX4" fmla="*/ 266282 w 1698172"/>
                  <a:gd name="connsiteY4" fmla="*/ 0 h 2356338"/>
                  <a:gd name="connsiteX0" fmla="*/ 266282 w 1698172"/>
                  <a:gd name="connsiteY0" fmla="*/ 0 h 2392578"/>
                  <a:gd name="connsiteX1" fmla="*/ 1698172 w 1698172"/>
                  <a:gd name="connsiteY1" fmla="*/ 0 h 2392578"/>
                  <a:gd name="connsiteX2" fmla="*/ 839038 w 1698172"/>
                  <a:gd name="connsiteY2" fmla="*/ 2105130 h 2392578"/>
                  <a:gd name="connsiteX3" fmla="*/ 0 w 1698172"/>
                  <a:gd name="connsiteY3" fmla="*/ 2356338 h 2392578"/>
                  <a:gd name="connsiteX4" fmla="*/ 266282 w 1698172"/>
                  <a:gd name="connsiteY4" fmla="*/ 0 h 2392578"/>
                  <a:gd name="connsiteX0" fmla="*/ 266282 w 1698172"/>
                  <a:gd name="connsiteY0" fmla="*/ 0 h 2464004"/>
                  <a:gd name="connsiteX1" fmla="*/ 1698172 w 1698172"/>
                  <a:gd name="connsiteY1" fmla="*/ 0 h 2464004"/>
                  <a:gd name="connsiteX2" fmla="*/ 839038 w 1698172"/>
                  <a:gd name="connsiteY2" fmla="*/ 2105130 h 2464004"/>
                  <a:gd name="connsiteX3" fmla="*/ 0 w 1698172"/>
                  <a:gd name="connsiteY3" fmla="*/ 2356338 h 2464004"/>
                  <a:gd name="connsiteX4" fmla="*/ 266282 w 1698172"/>
                  <a:gd name="connsiteY4" fmla="*/ 0 h 2464004"/>
                  <a:gd name="connsiteX0" fmla="*/ 266282 w 1698172"/>
                  <a:gd name="connsiteY0" fmla="*/ 0 h 2458914"/>
                  <a:gd name="connsiteX1" fmla="*/ 1698172 w 1698172"/>
                  <a:gd name="connsiteY1" fmla="*/ 0 h 2458914"/>
                  <a:gd name="connsiteX2" fmla="*/ 839038 w 1698172"/>
                  <a:gd name="connsiteY2" fmla="*/ 2105130 h 2458914"/>
                  <a:gd name="connsiteX3" fmla="*/ 0 w 1698172"/>
                  <a:gd name="connsiteY3" fmla="*/ 2356338 h 2458914"/>
                  <a:gd name="connsiteX4" fmla="*/ 266282 w 1698172"/>
                  <a:gd name="connsiteY4" fmla="*/ 0 h 2458914"/>
                  <a:gd name="connsiteX0" fmla="*/ 266282 w 1698172"/>
                  <a:gd name="connsiteY0" fmla="*/ 0 h 2458914"/>
                  <a:gd name="connsiteX1" fmla="*/ 1698172 w 1698172"/>
                  <a:gd name="connsiteY1" fmla="*/ 0 h 2458914"/>
                  <a:gd name="connsiteX2" fmla="*/ 839038 w 1698172"/>
                  <a:gd name="connsiteY2" fmla="*/ 2105130 h 2458914"/>
                  <a:gd name="connsiteX3" fmla="*/ 0 w 1698172"/>
                  <a:gd name="connsiteY3" fmla="*/ 2356338 h 2458914"/>
                  <a:gd name="connsiteX4" fmla="*/ 90436 w 1698172"/>
                  <a:gd name="connsiteY4" fmla="*/ 1502229 h 2458914"/>
                  <a:gd name="connsiteX5" fmla="*/ 266282 w 1698172"/>
                  <a:gd name="connsiteY5" fmla="*/ 0 h 2458914"/>
                  <a:gd name="connsiteX0" fmla="*/ 266282 w 1698172"/>
                  <a:gd name="connsiteY0" fmla="*/ 0 h 2458914"/>
                  <a:gd name="connsiteX1" fmla="*/ 1698172 w 1698172"/>
                  <a:gd name="connsiteY1" fmla="*/ 0 h 2458914"/>
                  <a:gd name="connsiteX2" fmla="*/ 839038 w 1698172"/>
                  <a:gd name="connsiteY2" fmla="*/ 2105130 h 2458914"/>
                  <a:gd name="connsiteX3" fmla="*/ 0 w 1698172"/>
                  <a:gd name="connsiteY3" fmla="*/ 2356338 h 2458914"/>
                  <a:gd name="connsiteX4" fmla="*/ 542612 w 1698172"/>
                  <a:gd name="connsiteY4" fmla="*/ 1924260 h 2458914"/>
                  <a:gd name="connsiteX5" fmla="*/ 266282 w 1698172"/>
                  <a:gd name="connsiteY5" fmla="*/ 0 h 2458914"/>
                  <a:gd name="connsiteX0" fmla="*/ 266282 w 1698172"/>
                  <a:gd name="connsiteY0" fmla="*/ 0 h 2458914"/>
                  <a:gd name="connsiteX1" fmla="*/ 1698172 w 1698172"/>
                  <a:gd name="connsiteY1" fmla="*/ 0 h 2458914"/>
                  <a:gd name="connsiteX2" fmla="*/ 839038 w 1698172"/>
                  <a:gd name="connsiteY2" fmla="*/ 2105130 h 2458914"/>
                  <a:gd name="connsiteX3" fmla="*/ 0 w 1698172"/>
                  <a:gd name="connsiteY3" fmla="*/ 2356338 h 2458914"/>
                  <a:gd name="connsiteX4" fmla="*/ 226089 w 1698172"/>
                  <a:gd name="connsiteY4" fmla="*/ 2170444 h 2458914"/>
                  <a:gd name="connsiteX5" fmla="*/ 542612 w 1698172"/>
                  <a:gd name="connsiteY5" fmla="*/ 1924260 h 2458914"/>
                  <a:gd name="connsiteX6" fmla="*/ 266282 w 1698172"/>
                  <a:gd name="connsiteY6" fmla="*/ 0 h 2458914"/>
                  <a:gd name="connsiteX0" fmla="*/ 266282 w 1698172"/>
                  <a:gd name="connsiteY0" fmla="*/ 0 h 2458914"/>
                  <a:gd name="connsiteX1" fmla="*/ 1698172 w 1698172"/>
                  <a:gd name="connsiteY1" fmla="*/ 0 h 2458914"/>
                  <a:gd name="connsiteX2" fmla="*/ 839038 w 1698172"/>
                  <a:gd name="connsiteY2" fmla="*/ 2105130 h 2458914"/>
                  <a:gd name="connsiteX3" fmla="*/ 0 w 1698172"/>
                  <a:gd name="connsiteY3" fmla="*/ 2356338 h 2458914"/>
                  <a:gd name="connsiteX4" fmla="*/ 110533 w 1698172"/>
                  <a:gd name="connsiteY4" fmla="*/ 2044840 h 2458914"/>
                  <a:gd name="connsiteX5" fmla="*/ 542612 w 1698172"/>
                  <a:gd name="connsiteY5" fmla="*/ 1924260 h 2458914"/>
                  <a:gd name="connsiteX6" fmla="*/ 266282 w 1698172"/>
                  <a:gd name="connsiteY6" fmla="*/ 0 h 2458914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864159 w 1723293"/>
                  <a:gd name="connsiteY2" fmla="*/ 2105130 h 2453208"/>
                  <a:gd name="connsiteX3" fmla="*/ 0 w 1723293"/>
                  <a:gd name="connsiteY3" fmla="*/ 2346290 h 2453208"/>
                  <a:gd name="connsiteX4" fmla="*/ 135654 w 1723293"/>
                  <a:gd name="connsiteY4" fmla="*/ 2044840 h 2453208"/>
                  <a:gd name="connsiteX5" fmla="*/ 567733 w 1723293"/>
                  <a:gd name="connsiteY5" fmla="*/ 1924260 h 2453208"/>
                  <a:gd name="connsiteX6" fmla="*/ 291403 w 1723293"/>
                  <a:gd name="connsiteY6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864159 w 1723293"/>
                  <a:gd name="connsiteY2" fmla="*/ 2105130 h 2453208"/>
                  <a:gd name="connsiteX3" fmla="*/ 0 w 1723293"/>
                  <a:gd name="connsiteY3" fmla="*/ 2346290 h 2453208"/>
                  <a:gd name="connsiteX4" fmla="*/ 135654 w 1723293"/>
                  <a:gd name="connsiteY4" fmla="*/ 2044840 h 2453208"/>
                  <a:gd name="connsiteX5" fmla="*/ 567733 w 1723293"/>
                  <a:gd name="connsiteY5" fmla="*/ 1924260 h 2453208"/>
                  <a:gd name="connsiteX6" fmla="*/ 291403 w 1723293"/>
                  <a:gd name="connsiteY6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864159 w 1723293"/>
                  <a:gd name="connsiteY2" fmla="*/ 2105130 h 2453208"/>
                  <a:gd name="connsiteX3" fmla="*/ 0 w 1723293"/>
                  <a:gd name="connsiteY3" fmla="*/ 2346290 h 2453208"/>
                  <a:gd name="connsiteX4" fmla="*/ 135654 w 1723293"/>
                  <a:gd name="connsiteY4" fmla="*/ 2044840 h 2453208"/>
                  <a:gd name="connsiteX5" fmla="*/ 567733 w 1723293"/>
                  <a:gd name="connsiteY5" fmla="*/ 1924260 h 2453208"/>
                  <a:gd name="connsiteX6" fmla="*/ 291403 w 1723293"/>
                  <a:gd name="connsiteY6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864159 w 1723293"/>
                  <a:gd name="connsiteY2" fmla="*/ 2105130 h 2453208"/>
                  <a:gd name="connsiteX3" fmla="*/ 0 w 1723293"/>
                  <a:gd name="connsiteY3" fmla="*/ 2346290 h 2453208"/>
                  <a:gd name="connsiteX4" fmla="*/ 135654 w 1723293"/>
                  <a:gd name="connsiteY4" fmla="*/ 2044840 h 2453208"/>
                  <a:gd name="connsiteX5" fmla="*/ 567733 w 1723293"/>
                  <a:gd name="connsiteY5" fmla="*/ 1924260 h 2453208"/>
                  <a:gd name="connsiteX6" fmla="*/ 291403 w 1723293"/>
                  <a:gd name="connsiteY6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864159 w 1723293"/>
                  <a:gd name="connsiteY2" fmla="*/ 2105130 h 2453208"/>
                  <a:gd name="connsiteX3" fmla="*/ 0 w 1723293"/>
                  <a:gd name="connsiteY3" fmla="*/ 2346290 h 2453208"/>
                  <a:gd name="connsiteX4" fmla="*/ 135654 w 1723293"/>
                  <a:gd name="connsiteY4" fmla="*/ 2044840 h 2453208"/>
                  <a:gd name="connsiteX5" fmla="*/ 567733 w 1723293"/>
                  <a:gd name="connsiteY5" fmla="*/ 1924260 h 2453208"/>
                  <a:gd name="connsiteX6" fmla="*/ 291403 w 1723293"/>
                  <a:gd name="connsiteY6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085224 w 1723293"/>
                  <a:gd name="connsiteY2" fmla="*/ 1542422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462037 w 1723293"/>
                  <a:gd name="connsiteY2" fmla="*/ 1698172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577593 w 1723293"/>
                  <a:gd name="connsiteY2" fmla="*/ 1833824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462037 w 1723293"/>
                  <a:gd name="connsiteY2" fmla="*/ 1703195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462037 w 1723293"/>
                  <a:gd name="connsiteY2" fmla="*/ 1703195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462037 w 1723293"/>
                  <a:gd name="connsiteY2" fmla="*/ 1703195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462037 w 1723293"/>
                  <a:gd name="connsiteY2" fmla="*/ 1703195 h 2453208"/>
                  <a:gd name="connsiteX3" fmla="*/ 864159 w 1723293"/>
                  <a:gd name="connsiteY3" fmla="*/ 2105130 h 2453208"/>
                  <a:gd name="connsiteX4" fmla="*/ 0 w 1723293"/>
                  <a:gd name="connsiteY4" fmla="*/ 2346290 h 2453208"/>
                  <a:gd name="connsiteX5" fmla="*/ 135654 w 1723293"/>
                  <a:gd name="connsiteY5" fmla="*/ 2044840 h 2453208"/>
                  <a:gd name="connsiteX6" fmla="*/ 567733 w 1723293"/>
                  <a:gd name="connsiteY6" fmla="*/ 1924260 h 2453208"/>
                  <a:gd name="connsiteX7" fmla="*/ 291403 w 1723293"/>
                  <a:gd name="connsiteY7" fmla="*/ 0 h 2453208"/>
                  <a:gd name="connsiteX0" fmla="*/ 291403 w 1723293"/>
                  <a:gd name="connsiteY0" fmla="*/ 0 h 2453208"/>
                  <a:gd name="connsiteX1" fmla="*/ 1723293 w 1723293"/>
                  <a:gd name="connsiteY1" fmla="*/ 0 h 2453208"/>
                  <a:gd name="connsiteX2" fmla="*/ 1552473 w 1723293"/>
                  <a:gd name="connsiteY2" fmla="*/ 1034980 h 2453208"/>
                  <a:gd name="connsiteX3" fmla="*/ 1462037 w 1723293"/>
                  <a:gd name="connsiteY3" fmla="*/ 1703195 h 2453208"/>
                  <a:gd name="connsiteX4" fmla="*/ 864159 w 1723293"/>
                  <a:gd name="connsiteY4" fmla="*/ 2105130 h 2453208"/>
                  <a:gd name="connsiteX5" fmla="*/ 0 w 1723293"/>
                  <a:gd name="connsiteY5" fmla="*/ 2346290 h 2453208"/>
                  <a:gd name="connsiteX6" fmla="*/ 135654 w 1723293"/>
                  <a:gd name="connsiteY6" fmla="*/ 2044840 h 2453208"/>
                  <a:gd name="connsiteX7" fmla="*/ 567733 w 1723293"/>
                  <a:gd name="connsiteY7" fmla="*/ 1924260 h 2453208"/>
                  <a:gd name="connsiteX8" fmla="*/ 291403 w 1723293"/>
                  <a:gd name="connsiteY8" fmla="*/ 0 h 2453208"/>
                  <a:gd name="connsiteX0" fmla="*/ 291403 w 1919238"/>
                  <a:gd name="connsiteY0" fmla="*/ 0 h 2453208"/>
                  <a:gd name="connsiteX1" fmla="*/ 1723293 w 1919238"/>
                  <a:gd name="connsiteY1" fmla="*/ 0 h 2453208"/>
                  <a:gd name="connsiteX2" fmla="*/ 1919238 w 1919238"/>
                  <a:gd name="connsiteY2" fmla="*/ 1065125 h 2453208"/>
                  <a:gd name="connsiteX3" fmla="*/ 1462037 w 1919238"/>
                  <a:gd name="connsiteY3" fmla="*/ 1703195 h 2453208"/>
                  <a:gd name="connsiteX4" fmla="*/ 864159 w 1919238"/>
                  <a:gd name="connsiteY4" fmla="*/ 2105130 h 2453208"/>
                  <a:gd name="connsiteX5" fmla="*/ 0 w 1919238"/>
                  <a:gd name="connsiteY5" fmla="*/ 2346290 h 2453208"/>
                  <a:gd name="connsiteX6" fmla="*/ 135654 w 1919238"/>
                  <a:gd name="connsiteY6" fmla="*/ 2044840 h 2453208"/>
                  <a:gd name="connsiteX7" fmla="*/ 567733 w 1919238"/>
                  <a:gd name="connsiteY7" fmla="*/ 1924260 h 2453208"/>
                  <a:gd name="connsiteX8" fmla="*/ 291403 w 1919238"/>
                  <a:gd name="connsiteY8" fmla="*/ 0 h 2453208"/>
                  <a:gd name="connsiteX0" fmla="*/ 291403 w 1940010"/>
                  <a:gd name="connsiteY0" fmla="*/ 0 h 2453208"/>
                  <a:gd name="connsiteX1" fmla="*/ 1723293 w 1940010"/>
                  <a:gd name="connsiteY1" fmla="*/ 0 h 2453208"/>
                  <a:gd name="connsiteX2" fmla="*/ 1919238 w 1940010"/>
                  <a:gd name="connsiteY2" fmla="*/ 1065125 h 2453208"/>
                  <a:gd name="connsiteX3" fmla="*/ 1462037 w 1940010"/>
                  <a:gd name="connsiteY3" fmla="*/ 1703195 h 2453208"/>
                  <a:gd name="connsiteX4" fmla="*/ 864159 w 1940010"/>
                  <a:gd name="connsiteY4" fmla="*/ 2105130 h 2453208"/>
                  <a:gd name="connsiteX5" fmla="*/ 0 w 1940010"/>
                  <a:gd name="connsiteY5" fmla="*/ 2346290 h 2453208"/>
                  <a:gd name="connsiteX6" fmla="*/ 135654 w 1940010"/>
                  <a:gd name="connsiteY6" fmla="*/ 2044840 h 2453208"/>
                  <a:gd name="connsiteX7" fmla="*/ 567733 w 1940010"/>
                  <a:gd name="connsiteY7" fmla="*/ 1924260 h 2453208"/>
                  <a:gd name="connsiteX8" fmla="*/ 291403 w 1940010"/>
                  <a:gd name="connsiteY8" fmla="*/ 0 h 2453208"/>
                  <a:gd name="connsiteX0" fmla="*/ 291403 w 1939235"/>
                  <a:gd name="connsiteY0" fmla="*/ 0 h 2453208"/>
                  <a:gd name="connsiteX1" fmla="*/ 1723293 w 1939235"/>
                  <a:gd name="connsiteY1" fmla="*/ 0 h 2453208"/>
                  <a:gd name="connsiteX2" fmla="*/ 1919238 w 1939235"/>
                  <a:gd name="connsiteY2" fmla="*/ 1065125 h 2453208"/>
                  <a:gd name="connsiteX3" fmla="*/ 1441941 w 1939235"/>
                  <a:gd name="connsiteY3" fmla="*/ 1713244 h 2453208"/>
                  <a:gd name="connsiteX4" fmla="*/ 864159 w 1939235"/>
                  <a:gd name="connsiteY4" fmla="*/ 2105130 h 2453208"/>
                  <a:gd name="connsiteX5" fmla="*/ 0 w 1939235"/>
                  <a:gd name="connsiteY5" fmla="*/ 2346290 h 2453208"/>
                  <a:gd name="connsiteX6" fmla="*/ 135654 w 1939235"/>
                  <a:gd name="connsiteY6" fmla="*/ 2044840 h 2453208"/>
                  <a:gd name="connsiteX7" fmla="*/ 567733 w 1939235"/>
                  <a:gd name="connsiteY7" fmla="*/ 1924260 h 2453208"/>
                  <a:gd name="connsiteX8" fmla="*/ 291403 w 1939235"/>
                  <a:gd name="connsiteY8" fmla="*/ 0 h 2453208"/>
                  <a:gd name="connsiteX0" fmla="*/ 291403 w 1938883"/>
                  <a:gd name="connsiteY0" fmla="*/ 0 h 2453208"/>
                  <a:gd name="connsiteX1" fmla="*/ 1723293 w 1938883"/>
                  <a:gd name="connsiteY1" fmla="*/ 0 h 2453208"/>
                  <a:gd name="connsiteX2" fmla="*/ 1919238 w 1938883"/>
                  <a:gd name="connsiteY2" fmla="*/ 1065125 h 2453208"/>
                  <a:gd name="connsiteX3" fmla="*/ 1441941 w 1938883"/>
                  <a:gd name="connsiteY3" fmla="*/ 1713244 h 2453208"/>
                  <a:gd name="connsiteX4" fmla="*/ 864159 w 1938883"/>
                  <a:gd name="connsiteY4" fmla="*/ 2105130 h 2453208"/>
                  <a:gd name="connsiteX5" fmla="*/ 0 w 1938883"/>
                  <a:gd name="connsiteY5" fmla="*/ 2346290 h 2453208"/>
                  <a:gd name="connsiteX6" fmla="*/ 135654 w 1938883"/>
                  <a:gd name="connsiteY6" fmla="*/ 2044840 h 2453208"/>
                  <a:gd name="connsiteX7" fmla="*/ 567733 w 1938883"/>
                  <a:gd name="connsiteY7" fmla="*/ 1924260 h 2453208"/>
                  <a:gd name="connsiteX8" fmla="*/ 291403 w 1938883"/>
                  <a:gd name="connsiteY8" fmla="*/ 0 h 2453208"/>
                  <a:gd name="connsiteX0" fmla="*/ 291403 w 1938704"/>
                  <a:gd name="connsiteY0" fmla="*/ 0 h 2453208"/>
                  <a:gd name="connsiteX1" fmla="*/ 1723293 w 1938704"/>
                  <a:gd name="connsiteY1" fmla="*/ 0 h 2453208"/>
                  <a:gd name="connsiteX2" fmla="*/ 1919238 w 1938704"/>
                  <a:gd name="connsiteY2" fmla="*/ 1065125 h 2453208"/>
                  <a:gd name="connsiteX3" fmla="*/ 1436916 w 1938704"/>
                  <a:gd name="connsiteY3" fmla="*/ 1693147 h 2453208"/>
                  <a:gd name="connsiteX4" fmla="*/ 864159 w 1938704"/>
                  <a:gd name="connsiteY4" fmla="*/ 2105130 h 2453208"/>
                  <a:gd name="connsiteX5" fmla="*/ 0 w 1938704"/>
                  <a:gd name="connsiteY5" fmla="*/ 2346290 h 2453208"/>
                  <a:gd name="connsiteX6" fmla="*/ 135654 w 1938704"/>
                  <a:gd name="connsiteY6" fmla="*/ 2044840 h 2453208"/>
                  <a:gd name="connsiteX7" fmla="*/ 567733 w 1938704"/>
                  <a:gd name="connsiteY7" fmla="*/ 1924260 h 2453208"/>
                  <a:gd name="connsiteX8" fmla="*/ 291403 w 1938704"/>
                  <a:gd name="connsiteY8" fmla="*/ 0 h 2453208"/>
                  <a:gd name="connsiteX0" fmla="*/ 291403 w 1938704"/>
                  <a:gd name="connsiteY0" fmla="*/ 0 h 2453208"/>
                  <a:gd name="connsiteX1" fmla="*/ 1723293 w 1938704"/>
                  <a:gd name="connsiteY1" fmla="*/ 0 h 2453208"/>
                  <a:gd name="connsiteX2" fmla="*/ 1919238 w 1938704"/>
                  <a:gd name="connsiteY2" fmla="*/ 1065125 h 2453208"/>
                  <a:gd name="connsiteX3" fmla="*/ 1436916 w 1938704"/>
                  <a:gd name="connsiteY3" fmla="*/ 1693147 h 2453208"/>
                  <a:gd name="connsiteX4" fmla="*/ 864159 w 1938704"/>
                  <a:gd name="connsiteY4" fmla="*/ 2105130 h 2453208"/>
                  <a:gd name="connsiteX5" fmla="*/ 0 w 1938704"/>
                  <a:gd name="connsiteY5" fmla="*/ 2346290 h 2453208"/>
                  <a:gd name="connsiteX6" fmla="*/ 135654 w 1938704"/>
                  <a:gd name="connsiteY6" fmla="*/ 2044840 h 2453208"/>
                  <a:gd name="connsiteX7" fmla="*/ 567733 w 1938704"/>
                  <a:gd name="connsiteY7" fmla="*/ 1924260 h 2453208"/>
                  <a:gd name="connsiteX8" fmla="*/ 291403 w 1938704"/>
                  <a:gd name="connsiteY8" fmla="*/ 0 h 2453208"/>
                  <a:gd name="connsiteX0" fmla="*/ 291403 w 1938704"/>
                  <a:gd name="connsiteY0" fmla="*/ 0 h 2453208"/>
                  <a:gd name="connsiteX1" fmla="*/ 1723293 w 1938704"/>
                  <a:gd name="connsiteY1" fmla="*/ 0 h 2453208"/>
                  <a:gd name="connsiteX2" fmla="*/ 1919238 w 1938704"/>
                  <a:gd name="connsiteY2" fmla="*/ 1065125 h 2453208"/>
                  <a:gd name="connsiteX3" fmla="*/ 1436916 w 1938704"/>
                  <a:gd name="connsiteY3" fmla="*/ 1693147 h 2453208"/>
                  <a:gd name="connsiteX4" fmla="*/ 864159 w 1938704"/>
                  <a:gd name="connsiteY4" fmla="*/ 2105130 h 2453208"/>
                  <a:gd name="connsiteX5" fmla="*/ 0 w 1938704"/>
                  <a:gd name="connsiteY5" fmla="*/ 2346290 h 2453208"/>
                  <a:gd name="connsiteX6" fmla="*/ 135654 w 1938704"/>
                  <a:gd name="connsiteY6" fmla="*/ 2044840 h 2453208"/>
                  <a:gd name="connsiteX7" fmla="*/ 567733 w 1938704"/>
                  <a:gd name="connsiteY7" fmla="*/ 1924260 h 2453208"/>
                  <a:gd name="connsiteX8" fmla="*/ 291403 w 1938704"/>
                  <a:gd name="connsiteY8" fmla="*/ 0 h 2453208"/>
                  <a:gd name="connsiteX0" fmla="*/ 291403 w 1932387"/>
                  <a:gd name="connsiteY0" fmla="*/ 0 h 2453208"/>
                  <a:gd name="connsiteX1" fmla="*/ 1723293 w 1932387"/>
                  <a:gd name="connsiteY1" fmla="*/ 0 h 2453208"/>
                  <a:gd name="connsiteX2" fmla="*/ 1919238 w 1932387"/>
                  <a:gd name="connsiteY2" fmla="*/ 1065125 h 2453208"/>
                  <a:gd name="connsiteX3" fmla="*/ 1436916 w 1932387"/>
                  <a:gd name="connsiteY3" fmla="*/ 1693147 h 2453208"/>
                  <a:gd name="connsiteX4" fmla="*/ 864159 w 1932387"/>
                  <a:gd name="connsiteY4" fmla="*/ 2105130 h 2453208"/>
                  <a:gd name="connsiteX5" fmla="*/ 0 w 1932387"/>
                  <a:gd name="connsiteY5" fmla="*/ 2346290 h 2453208"/>
                  <a:gd name="connsiteX6" fmla="*/ 135654 w 1932387"/>
                  <a:gd name="connsiteY6" fmla="*/ 2044840 h 2453208"/>
                  <a:gd name="connsiteX7" fmla="*/ 567733 w 1932387"/>
                  <a:gd name="connsiteY7" fmla="*/ 1924260 h 2453208"/>
                  <a:gd name="connsiteX8" fmla="*/ 291403 w 1932387"/>
                  <a:gd name="connsiteY8" fmla="*/ 0 h 2453208"/>
                  <a:gd name="connsiteX0" fmla="*/ 291403 w 1932262"/>
                  <a:gd name="connsiteY0" fmla="*/ 0 h 2453208"/>
                  <a:gd name="connsiteX1" fmla="*/ 1723293 w 1932262"/>
                  <a:gd name="connsiteY1" fmla="*/ 0 h 2453208"/>
                  <a:gd name="connsiteX2" fmla="*/ 1919238 w 1932262"/>
                  <a:gd name="connsiteY2" fmla="*/ 1065125 h 2453208"/>
                  <a:gd name="connsiteX3" fmla="*/ 1436916 w 1932262"/>
                  <a:gd name="connsiteY3" fmla="*/ 1693147 h 2453208"/>
                  <a:gd name="connsiteX4" fmla="*/ 864159 w 1932262"/>
                  <a:gd name="connsiteY4" fmla="*/ 2105130 h 2453208"/>
                  <a:gd name="connsiteX5" fmla="*/ 0 w 1932262"/>
                  <a:gd name="connsiteY5" fmla="*/ 2346290 h 2453208"/>
                  <a:gd name="connsiteX6" fmla="*/ 135654 w 1932262"/>
                  <a:gd name="connsiteY6" fmla="*/ 2044840 h 2453208"/>
                  <a:gd name="connsiteX7" fmla="*/ 567733 w 1932262"/>
                  <a:gd name="connsiteY7" fmla="*/ 1924260 h 2453208"/>
                  <a:gd name="connsiteX8" fmla="*/ 291403 w 1932262"/>
                  <a:gd name="connsiteY8" fmla="*/ 0 h 2453208"/>
                  <a:gd name="connsiteX0" fmla="*/ 291403 w 2175469"/>
                  <a:gd name="connsiteY0" fmla="*/ 0 h 2453208"/>
                  <a:gd name="connsiteX1" fmla="*/ 2175469 w 2175469"/>
                  <a:gd name="connsiteY1" fmla="*/ 356716 h 2453208"/>
                  <a:gd name="connsiteX2" fmla="*/ 1919238 w 2175469"/>
                  <a:gd name="connsiteY2" fmla="*/ 1065125 h 2453208"/>
                  <a:gd name="connsiteX3" fmla="*/ 1436916 w 2175469"/>
                  <a:gd name="connsiteY3" fmla="*/ 1693147 h 2453208"/>
                  <a:gd name="connsiteX4" fmla="*/ 864159 w 2175469"/>
                  <a:gd name="connsiteY4" fmla="*/ 2105130 h 2453208"/>
                  <a:gd name="connsiteX5" fmla="*/ 0 w 2175469"/>
                  <a:gd name="connsiteY5" fmla="*/ 2346290 h 2453208"/>
                  <a:gd name="connsiteX6" fmla="*/ 135654 w 2175469"/>
                  <a:gd name="connsiteY6" fmla="*/ 2044840 h 2453208"/>
                  <a:gd name="connsiteX7" fmla="*/ 567733 w 2175469"/>
                  <a:gd name="connsiteY7" fmla="*/ 1924260 h 2453208"/>
                  <a:gd name="connsiteX8" fmla="*/ 291403 w 2175469"/>
                  <a:gd name="connsiteY8" fmla="*/ 0 h 2453208"/>
                  <a:gd name="connsiteX0" fmla="*/ 291403 w 2215117"/>
                  <a:gd name="connsiteY0" fmla="*/ 0 h 2453208"/>
                  <a:gd name="connsiteX1" fmla="*/ 2175469 w 2215117"/>
                  <a:gd name="connsiteY1" fmla="*/ 356716 h 2453208"/>
                  <a:gd name="connsiteX2" fmla="*/ 1919238 w 2215117"/>
                  <a:gd name="connsiteY2" fmla="*/ 1065125 h 2453208"/>
                  <a:gd name="connsiteX3" fmla="*/ 1436916 w 2215117"/>
                  <a:gd name="connsiteY3" fmla="*/ 1693147 h 2453208"/>
                  <a:gd name="connsiteX4" fmla="*/ 864159 w 2215117"/>
                  <a:gd name="connsiteY4" fmla="*/ 2105130 h 2453208"/>
                  <a:gd name="connsiteX5" fmla="*/ 0 w 2215117"/>
                  <a:gd name="connsiteY5" fmla="*/ 2346290 h 2453208"/>
                  <a:gd name="connsiteX6" fmla="*/ 135654 w 2215117"/>
                  <a:gd name="connsiteY6" fmla="*/ 2044840 h 2453208"/>
                  <a:gd name="connsiteX7" fmla="*/ 567733 w 2215117"/>
                  <a:gd name="connsiteY7" fmla="*/ 1924260 h 2453208"/>
                  <a:gd name="connsiteX8" fmla="*/ 291403 w 2215117"/>
                  <a:gd name="connsiteY8" fmla="*/ 0 h 2453208"/>
                  <a:gd name="connsiteX0" fmla="*/ 291403 w 2217798"/>
                  <a:gd name="connsiteY0" fmla="*/ 0 h 2453208"/>
                  <a:gd name="connsiteX1" fmla="*/ 2175469 w 2217798"/>
                  <a:gd name="connsiteY1" fmla="*/ 356716 h 2453208"/>
                  <a:gd name="connsiteX2" fmla="*/ 1919238 w 2217798"/>
                  <a:gd name="connsiteY2" fmla="*/ 1065125 h 2453208"/>
                  <a:gd name="connsiteX3" fmla="*/ 1436916 w 2217798"/>
                  <a:gd name="connsiteY3" fmla="*/ 1693147 h 2453208"/>
                  <a:gd name="connsiteX4" fmla="*/ 864159 w 2217798"/>
                  <a:gd name="connsiteY4" fmla="*/ 2105130 h 2453208"/>
                  <a:gd name="connsiteX5" fmla="*/ 0 w 2217798"/>
                  <a:gd name="connsiteY5" fmla="*/ 2346290 h 2453208"/>
                  <a:gd name="connsiteX6" fmla="*/ 135654 w 2217798"/>
                  <a:gd name="connsiteY6" fmla="*/ 2044840 h 2453208"/>
                  <a:gd name="connsiteX7" fmla="*/ 567733 w 2217798"/>
                  <a:gd name="connsiteY7" fmla="*/ 1924260 h 2453208"/>
                  <a:gd name="connsiteX8" fmla="*/ 291403 w 2217798"/>
                  <a:gd name="connsiteY8" fmla="*/ 0 h 2453208"/>
                  <a:gd name="connsiteX0" fmla="*/ 291403 w 2217798"/>
                  <a:gd name="connsiteY0" fmla="*/ 0 h 2453208"/>
                  <a:gd name="connsiteX1" fmla="*/ 1165611 w 2217798"/>
                  <a:gd name="connsiteY1" fmla="*/ 165798 h 2453208"/>
                  <a:gd name="connsiteX2" fmla="*/ 2175469 w 2217798"/>
                  <a:gd name="connsiteY2" fmla="*/ 356716 h 2453208"/>
                  <a:gd name="connsiteX3" fmla="*/ 1919238 w 2217798"/>
                  <a:gd name="connsiteY3" fmla="*/ 1065125 h 2453208"/>
                  <a:gd name="connsiteX4" fmla="*/ 1436916 w 2217798"/>
                  <a:gd name="connsiteY4" fmla="*/ 1693147 h 2453208"/>
                  <a:gd name="connsiteX5" fmla="*/ 864159 w 2217798"/>
                  <a:gd name="connsiteY5" fmla="*/ 2105130 h 2453208"/>
                  <a:gd name="connsiteX6" fmla="*/ 0 w 2217798"/>
                  <a:gd name="connsiteY6" fmla="*/ 2346290 h 2453208"/>
                  <a:gd name="connsiteX7" fmla="*/ 135654 w 2217798"/>
                  <a:gd name="connsiteY7" fmla="*/ 2044840 h 2453208"/>
                  <a:gd name="connsiteX8" fmla="*/ 567733 w 2217798"/>
                  <a:gd name="connsiteY8" fmla="*/ 1924260 h 2453208"/>
                  <a:gd name="connsiteX9" fmla="*/ 291403 w 2217798"/>
                  <a:gd name="connsiteY9" fmla="*/ 0 h 2453208"/>
                  <a:gd name="connsiteX0" fmla="*/ 291403 w 2217798"/>
                  <a:gd name="connsiteY0" fmla="*/ 1170633 h 3623841"/>
                  <a:gd name="connsiteX1" fmla="*/ 532565 w 2217798"/>
                  <a:gd name="connsiteY1" fmla="*/ 0 h 3623841"/>
                  <a:gd name="connsiteX2" fmla="*/ 2175469 w 2217798"/>
                  <a:gd name="connsiteY2" fmla="*/ 1527349 h 3623841"/>
                  <a:gd name="connsiteX3" fmla="*/ 1919238 w 2217798"/>
                  <a:gd name="connsiteY3" fmla="*/ 2235758 h 3623841"/>
                  <a:gd name="connsiteX4" fmla="*/ 1436916 w 2217798"/>
                  <a:gd name="connsiteY4" fmla="*/ 2863780 h 3623841"/>
                  <a:gd name="connsiteX5" fmla="*/ 864159 w 2217798"/>
                  <a:gd name="connsiteY5" fmla="*/ 3275763 h 3623841"/>
                  <a:gd name="connsiteX6" fmla="*/ 0 w 2217798"/>
                  <a:gd name="connsiteY6" fmla="*/ 3516923 h 3623841"/>
                  <a:gd name="connsiteX7" fmla="*/ 135654 w 2217798"/>
                  <a:gd name="connsiteY7" fmla="*/ 3215473 h 3623841"/>
                  <a:gd name="connsiteX8" fmla="*/ 567733 w 2217798"/>
                  <a:gd name="connsiteY8" fmla="*/ 3094893 h 3623841"/>
                  <a:gd name="connsiteX9" fmla="*/ 291403 w 2217798"/>
                  <a:gd name="connsiteY9" fmla="*/ 1170633 h 3623841"/>
                  <a:gd name="connsiteX0" fmla="*/ 291403 w 2217798"/>
                  <a:gd name="connsiteY0" fmla="*/ 1170633 h 3623841"/>
                  <a:gd name="connsiteX1" fmla="*/ 532565 w 2217798"/>
                  <a:gd name="connsiteY1" fmla="*/ 0 h 3623841"/>
                  <a:gd name="connsiteX2" fmla="*/ 2175469 w 2217798"/>
                  <a:gd name="connsiteY2" fmla="*/ 1527349 h 3623841"/>
                  <a:gd name="connsiteX3" fmla="*/ 1919238 w 2217798"/>
                  <a:gd name="connsiteY3" fmla="*/ 2235758 h 3623841"/>
                  <a:gd name="connsiteX4" fmla="*/ 1436916 w 2217798"/>
                  <a:gd name="connsiteY4" fmla="*/ 2863780 h 3623841"/>
                  <a:gd name="connsiteX5" fmla="*/ 864159 w 2217798"/>
                  <a:gd name="connsiteY5" fmla="*/ 3275763 h 3623841"/>
                  <a:gd name="connsiteX6" fmla="*/ 0 w 2217798"/>
                  <a:gd name="connsiteY6" fmla="*/ 3516923 h 3623841"/>
                  <a:gd name="connsiteX7" fmla="*/ 135654 w 2217798"/>
                  <a:gd name="connsiteY7" fmla="*/ 3215473 h 3623841"/>
                  <a:gd name="connsiteX8" fmla="*/ 567733 w 2217798"/>
                  <a:gd name="connsiteY8" fmla="*/ 3094893 h 3623841"/>
                  <a:gd name="connsiteX9" fmla="*/ 291403 w 2217798"/>
                  <a:gd name="connsiteY9" fmla="*/ 1170633 h 3623841"/>
                  <a:gd name="connsiteX0" fmla="*/ 291403 w 2213292"/>
                  <a:gd name="connsiteY0" fmla="*/ 1170633 h 3623841"/>
                  <a:gd name="connsiteX1" fmla="*/ 532565 w 2213292"/>
                  <a:gd name="connsiteY1" fmla="*/ 0 h 3623841"/>
                  <a:gd name="connsiteX2" fmla="*/ 2170445 w 2213292"/>
                  <a:gd name="connsiteY2" fmla="*/ 1507252 h 3623841"/>
                  <a:gd name="connsiteX3" fmla="*/ 1919238 w 2213292"/>
                  <a:gd name="connsiteY3" fmla="*/ 2235758 h 3623841"/>
                  <a:gd name="connsiteX4" fmla="*/ 1436916 w 2213292"/>
                  <a:gd name="connsiteY4" fmla="*/ 2863780 h 3623841"/>
                  <a:gd name="connsiteX5" fmla="*/ 864159 w 2213292"/>
                  <a:gd name="connsiteY5" fmla="*/ 3275763 h 3623841"/>
                  <a:gd name="connsiteX6" fmla="*/ 0 w 2213292"/>
                  <a:gd name="connsiteY6" fmla="*/ 3516923 h 3623841"/>
                  <a:gd name="connsiteX7" fmla="*/ 135654 w 2213292"/>
                  <a:gd name="connsiteY7" fmla="*/ 3215473 h 3623841"/>
                  <a:gd name="connsiteX8" fmla="*/ 567733 w 2213292"/>
                  <a:gd name="connsiteY8" fmla="*/ 3094893 h 3623841"/>
                  <a:gd name="connsiteX9" fmla="*/ 291403 w 2213292"/>
                  <a:gd name="connsiteY9" fmla="*/ 1170633 h 3623841"/>
                  <a:gd name="connsiteX0" fmla="*/ 291403 w 2114143"/>
                  <a:gd name="connsiteY0" fmla="*/ 1170633 h 3623841"/>
                  <a:gd name="connsiteX1" fmla="*/ 532565 w 2114143"/>
                  <a:gd name="connsiteY1" fmla="*/ 0 h 3623841"/>
                  <a:gd name="connsiteX2" fmla="*/ 2054889 w 2114143"/>
                  <a:gd name="connsiteY2" fmla="*/ 1381647 h 3623841"/>
                  <a:gd name="connsiteX3" fmla="*/ 1919238 w 2114143"/>
                  <a:gd name="connsiteY3" fmla="*/ 2235758 h 3623841"/>
                  <a:gd name="connsiteX4" fmla="*/ 1436916 w 2114143"/>
                  <a:gd name="connsiteY4" fmla="*/ 2863780 h 3623841"/>
                  <a:gd name="connsiteX5" fmla="*/ 864159 w 2114143"/>
                  <a:gd name="connsiteY5" fmla="*/ 3275763 h 3623841"/>
                  <a:gd name="connsiteX6" fmla="*/ 0 w 2114143"/>
                  <a:gd name="connsiteY6" fmla="*/ 3516923 h 3623841"/>
                  <a:gd name="connsiteX7" fmla="*/ 135654 w 2114143"/>
                  <a:gd name="connsiteY7" fmla="*/ 3215473 h 3623841"/>
                  <a:gd name="connsiteX8" fmla="*/ 567733 w 2114143"/>
                  <a:gd name="connsiteY8" fmla="*/ 3094893 h 3623841"/>
                  <a:gd name="connsiteX9" fmla="*/ 291403 w 2114143"/>
                  <a:gd name="connsiteY9" fmla="*/ 1170633 h 3623841"/>
                  <a:gd name="connsiteX0" fmla="*/ 291403 w 2209251"/>
                  <a:gd name="connsiteY0" fmla="*/ 1170633 h 3623841"/>
                  <a:gd name="connsiteX1" fmla="*/ 532565 w 2209251"/>
                  <a:gd name="connsiteY1" fmla="*/ 0 h 3623841"/>
                  <a:gd name="connsiteX2" fmla="*/ 2054889 w 2209251"/>
                  <a:gd name="connsiteY2" fmla="*/ 1381647 h 3623841"/>
                  <a:gd name="connsiteX3" fmla="*/ 1919238 w 2209251"/>
                  <a:gd name="connsiteY3" fmla="*/ 2235758 h 3623841"/>
                  <a:gd name="connsiteX4" fmla="*/ 1436916 w 2209251"/>
                  <a:gd name="connsiteY4" fmla="*/ 2863780 h 3623841"/>
                  <a:gd name="connsiteX5" fmla="*/ 864159 w 2209251"/>
                  <a:gd name="connsiteY5" fmla="*/ 3275763 h 3623841"/>
                  <a:gd name="connsiteX6" fmla="*/ 0 w 2209251"/>
                  <a:gd name="connsiteY6" fmla="*/ 3516923 h 3623841"/>
                  <a:gd name="connsiteX7" fmla="*/ 135654 w 2209251"/>
                  <a:gd name="connsiteY7" fmla="*/ 3215473 h 3623841"/>
                  <a:gd name="connsiteX8" fmla="*/ 567733 w 2209251"/>
                  <a:gd name="connsiteY8" fmla="*/ 3094893 h 3623841"/>
                  <a:gd name="connsiteX9" fmla="*/ 291403 w 2209251"/>
                  <a:gd name="connsiteY9" fmla="*/ 1170633 h 3623841"/>
                  <a:gd name="connsiteX0" fmla="*/ 291403 w 2215920"/>
                  <a:gd name="connsiteY0" fmla="*/ 1170633 h 3623841"/>
                  <a:gd name="connsiteX1" fmla="*/ 532565 w 2215920"/>
                  <a:gd name="connsiteY1" fmla="*/ 0 h 3623841"/>
                  <a:gd name="connsiteX2" fmla="*/ 2054889 w 2215920"/>
                  <a:gd name="connsiteY2" fmla="*/ 1381647 h 3623841"/>
                  <a:gd name="connsiteX3" fmla="*/ 1919238 w 2215920"/>
                  <a:gd name="connsiteY3" fmla="*/ 2235758 h 3623841"/>
                  <a:gd name="connsiteX4" fmla="*/ 1436916 w 2215920"/>
                  <a:gd name="connsiteY4" fmla="*/ 2863780 h 3623841"/>
                  <a:gd name="connsiteX5" fmla="*/ 864159 w 2215920"/>
                  <a:gd name="connsiteY5" fmla="*/ 3275763 h 3623841"/>
                  <a:gd name="connsiteX6" fmla="*/ 0 w 2215920"/>
                  <a:gd name="connsiteY6" fmla="*/ 3516923 h 3623841"/>
                  <a:gd name="connsiteX7" fmla="*/ 135654 w 2215920"/>
                  <a:gd name="connsiteY7" fmla="*/ 3215473 h 3623841"/>
                  <a:gd name="connsiteX8" fmla="*/ 567733 w 2215920"/>
                  <a:gd name="connsiteY8" fmla="*/ 3094893 h 3623841"/>
                  <a:gd name="connsiteX9" fmla="*/ 291403 w 2215920"/>
                  <a:gd name="connsiteY9" fmla="*/ 1170633 h 3623841"/>
                  <a:gd name="connsiteX0" fmla="*/ 291403 w 2219964"/>
                  <a:gd name="connsiteY0" fmla="*/ 1170633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91403 w 2219964"/>
                  <a:gd name="connsiteY9" fmla="*/ 1170633 h 3623841"/>
                  <a:gd name="connsiteX0" fmla="*/ 291403 w 2219964"/>
                  <a:gd name="connsiteY0" fmla="*/ 1170633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91403 w 2219964"/>
                  <a:gd name="connsiteY9" fmla="*/ 1170633 h 3623841"/>
                  <a:gd name="connsiteX0" fmla="*/ 291403 w 2219964"/>
                  <a:gd name="connsiteY0" fmla="*/ 1170633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91403 w 2219964"/>
                  <a:gd name="connsiteY9" fmla="*/ 1170633 h 3623841"/>
                  <a:gd name="connsiteX0" fmla="*/ 291403 w 2219964"/>
                  <a:gd name="connsiteY0" fmla="*/ 1170633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91403 w 2219964"/>
                  <a:gd name="connsiteY9" fmla="*/ 1170633 h 3623841"/>
                  <a:gd name="connsiteX0" fmla="*/ 291403 w 2219964"/>
                  <a:gd name="connsiteY0" fmla="*/ 1170633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91403 w 2219964"/>
                  <a:gd name="connsiteY9" fmla="*/ 1170633 h 3623841"/>
                  <a:gd name="connsiteX0" fmla="*/ 211016 w 2219964"/>
                  <a:gd name="connsiteY0" fmla="*/ 120580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11016 w 2219964"/>
                  <a:gd name="connsiteY9" fmla="*/ 120580 h 3623841"/>
                  <a:gd name="connsiteX0" fmla="*/ 211016 w 2219964"/>
                  <a:gd name="connsiteY0" fmla="*/ 120580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11016 w 2219964"/>
                  <a:gd name="connsiteY9" fmla="*/ 120580 h 3623841"/>
                  <a:gd name="connsiteX0" fmla="*/ 211016 w 2219964"/>
                  <a:gd name="connsiteY0" fmla="*/ 120580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11016 w 2219964"/>
                  <a:gd name="connsiteY9" fmla="*/ 120580 h 3623841"/>
                  <a:gd name="connsiteX0" fmla="*/ 211016 w 2219964"/>
                  <a:gd name="connsiteY0" fmla="*/ 120580 h 3623841"/>
                  <a:gd name="connsiteX1" fmla="*/ 532565 w 2219964"/>
                  <a:gd name="connsiteY1" fmla="*/ 0 h 3623841"/>
                  <a:gd name="connsiteX2" fmla="*/ 2054889 w 2219964"/>
                  <a:gd name="connsiteY2" fmla="*/ 1381647 h 3623841"/>
                  <a:gd name="connsiteX3" fmla="*/ 1919238 w 2219964"/>
                  <a:gd name="connsiteY3" fmla="*/ 2235758 h 3623841"/>
                  <a:gd name="connsiteX4" fmla="*/ 1436916 w 2219964"/>
                  <a:gd name="connsiteY4" fmla="*/ 2863780 h 3623841"/>
                  <a:gd name="connsiteX5" fmla="*/ 864159 w 2219964"/>
                  <a:gd name="connsiteY5" fmla="*/ 3275763 h 3623841"/>
                  <a:gd name="connsiteX6" fmla="*/ 0 w 2219964"/>
                  <a:gd name="connsiteY6" fmla="*/ 3516923 h 3623841"/>
                  <a:gd name="connsiteX7" fmla="*/ 135654 w 2219964"/>
                  <a:gd name="connsiteY7" fmla="*/ 3215473 h 3623841"/>
                  <a:gd name="connsiteX8" fmla="*/ 567733 w 2219964"/>
                  <a:gd name="connsiteY8" fmla="*/ 3094893 h 3623841"/>
                  <a:gd name="connsiteX9" fmla="*/ 211016 w 2219964"/>
                  <a:gd name="connsiteY9" fmla="*/ 120580 h 3623841"/>
                  <a:gd name="connsiteX0" fmla="*/ 211016 w 2219964"/>
                  <a:gd name="connsiteY0" fmla="*/ 138966 h 3642227"/>
                  <a:gd name="connsiteX1" fmla="*/ 532565 w 2219964"/>
                  <a:gd name="connsiteY1" fmla="*/ 18386 h 3642227"/>
                  <a:gd name="connsiteX2" fmla="*/ 2054889 w 2219964"/>
                  <a:gd name="connsiteY2" fmla="*/ 1400033 h 3642227"/>
                  <a:gd name="connsiteX3" fmla="*/ 1919238 w 2219964"/>
                  <a:gd name="connsiteY3" fmla="*/ 2254144 h 3642227"/>
                  <a:gd name="connsiteX4" fmla="*/ 1436916 w 2219964"/>
                  <a:gd name="connsiteY4" fmla="*/ 2882166 h 3642227"/>
                  <a:gd name="connsiteX5" fmla="*/ 864159 w 2219964"/>
                  <a:gd name="connsiteY5" fmla="*/ 3294149 h 3642227"/>
                  <a:gd name="connsiteX6" fmla="*/ 0 w 2219964"/>
                  <a:gd name="connsiteY6" fmla="*/ 3535309 h 3642227"/>
                  <a:gd name="connsiteX7" fmla="*/ 135654 w 2219964"/>
                  <a:gd name="connsiteY7" fmla="*/ 3233859 h 3642227"/>
                  <a:gd name="connsiteX8" fmla="*/ 567733 w 2219964"/>
                  <a:gd name="connsiteY8" fmla="*/ 3113279 h 3642227"/>
                  <a:gd name="connsiteX9" fmla="*/ 211016 w 2219964"/>
                  <a:gd name="connsiteY9" fmla="*/ 138966 h 3642227"/>
                  <a:gd name="connsiteX0" fmla="*/ 211016 w 2219964"/>
                  <a:gd name="connsiteY0" fmla="*/ 134584 h 3637845"/>
                  <a:gd name="connsiteX1" fmla="*/ 532565 w 2219964"/>
                  <a:gd name="connsiteY1" fmla="*/ 14004 h 3637845"/>
                  <a:gd name="connsiteX2" fmla="*/ 2054889 w 2219964"/>
                  <a:gd name="connsiteY2" fmla="*/ 1395651 h 3637845"/>
                  <a:gd name="connsiteX3" fmla="*/ 1919238 w 2219964"/>
                  <a:gd name="connsiteY3" fmla="*/ 2249762 h 3637845"/>
                  <a:gd name="connsiteX4" fmla="*/ 1436916 w 2219964"/>
                  <a:gd name="connsiteY4" fmla="*/ 2877784 h 3637845"/>
                  <a:gd name="connsiteX5" fmla="*/ 864159 w 2219964"/>
                  <a:gd name="connsiteY5" fmla="*/ 3289767 h 3637845"/>
                  <a:gd name="connsiteX6" fmla="*/ 0 w 2219964"/>
                  <a:gd name="connsiteY6" fmla="*/ 3530927 h 3637845"/>
                  <a:gd name="connsiteX7" fmla="*/ 135654 w 2219964"/>
                  <a:gd name="connsiteY7" fmla="*/ 3229477 h 3637845"/>
                  <a:gd name="connsiteX8" fmla="*/ 567733 w 2219964"/>
                  <a:gd name="connsiteY8" fmla="*/ 3108897 h 3637845"/>
                  <a:gd name="connsiteX9" fmla="*/ 211016 w 2219964"/>
                  <a:gd name="connsiteY9" fmla="*/ 134584 h 3637845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211016 w 2219964"/>
                  <a:gd name="connsiteY9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386864 w 2219964"/>
                  <a:gd name="connsiteY9" fmla="*/ 1692616 h 3628333"/>
                  <a:gd name="connsiteX10" fmla="*/ 211016 w 2219964"/>
                  <a:gd name="connsiteY10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758464 w 2219964"/>
                  <a:gd name="connsiteY9" fmla="*/ 1531842 h 3628333"/>
                  <a:gd name="connsiteX10" fmla="*/ 211016 w 2219964"/>
                  <a:gd name="connsiteY10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421844 w 2219964"/>
                  <a:gd name="connsiteY9" fmla="*/ 1958897 h 3628333"/>
                  <a:gd name="connsiteX10" fmla="*/ 1758464 w 2219964"/>
                  <a:gd name="connsiteY10" fmla="*/ 1531842 h 3628333"/>
                  <a:gd name="connsiteX11" fmla="*/ 211016 w 2219964"/>
                  <a:gd name="connsiteY1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748416 w 2219964"/>
                  <a:gd name="connsiteY9" fmla="*/ 1958897 h 3628333"/>
                  <a:gd name="connsiteX10" fmla="*/ 1758464 w 2219964"/>
                  <a:gd name="connsiteY10" fmla="*/ 1531842 h 3628333"/>
                  <a:gd name="connsiteX11" fmla="*/ 211016 w 2219964"/>
                  <a:gd name="connsiteY1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748416 w 2219964"/>
                  <a:gd name="connsiteY9" fmla="*/ 1958897 h 3628333"/>
                  <a:gd name="connsiteX10" fmla="*/ 1758464 w 2219964"/>
                  <a:gd name="connsiteY10" fmla="*/ 1531842 h 3628333"/>
                  <a:gd name="connsiteX11" fmla="*/ 211016 w 2219964"/>
                  <a:gd name="connsiteY1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748416 w 2219964"/>
                  <a:gd name="connsiteY9" fmla="*/ 1958897 h 3628333"/>
                  <a:gd name="connsiteX10" fmla="*/ 1758464 w 2219964"/>
                  <a:gd name="connsiteY10" fmla="*/ 1531842 h 3628333"/>
                  <a:gd name="connsiteX11" fmla="*/ 211016 w 2219964"/>
                  <a:gd name="connsiteY1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748416 w 2219964"/>
                  <a:gd name="connsiteY9" fmla="*/ 1958897 h 3628333"/>
                  <a:gd name="connsiteX10" fmla="*/ 1758464 w 2219964"/>
                  <a:gd name="connsiteY10" fmla="*/ 1531842 h 3628333"/>
                  <a:gd name="connsiteX11" fmla="*/ 211016 w 2219964"/>
                  <a:gd name="connsiteY1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306288 w 2219964"/>
                  <a:gd name="connsiteY9" fmla="*/ 2380928 h 3628333"/>
                  <a:gd name="connsiteX10" fmla="*/ 1748416 w 2219964"/>
                  <a:gd name="connsiteY10" fmla="*/ 1958897 h 3628333"/>
                  <a:gd name="connsiteX11" fmla="*/ 1758464 w 2219964"/>
                  <a:gd name="connsiteY11" fmla="*/ 153184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748416 w 2219964"/>
                  <a:gd name="connsiteY10" fmla="*/ 1958897 h 3628333"/>
                  <a:gd name="connsiteX11" fmla="*/ 1758464 w 2219964"/>
                  <a:gd name="connsiteY11" fmla="*/ 153184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758464 w 2219964"/>
                  <a:gd name="connsiteY11" fmla="*/ 153184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758464 w 2219964"/>
                  <a:gd name="connsiteY11" fmla="*/ 153184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758464 w 2219964"/>
                  <a:gd name="connsiteY11" fmla="*/ 153184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808706 w 2219964"/>
                  <a:gd name="connsiteY11" fmla="*/ 159213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808706 w 2219964"/>
                  <a:gd name="connsiteY11" fmla="*/ 159213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808706 w 2219964"/>
                  <a:gd name="connsiteY11" fmla="*/ 159213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808706 w 2219964"/>
                  <a:gd name="connsiteY11" fmla="*/ 159213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5224 w 2219964"/>
                  <a:gd name="connsiteY9" fmla="*/ 1501697 h 3628333"/>
                  <a:gd name="connsiteX10" fmla="*/ 1607739 w 2219964"/>
                  <a:gd name="connsiteY10" fmla="*/ 1873486 h 3628333"/>
                  <a:gd name="connsiteX11" fmla="*/ 1808706 w 2219964"/>
                  <a:gd name="connsiteY11" fmla="*/ 1592132 h 3628333"/>
                  <a:gd name="connsiteX12" fmla="*/ 211016 w 2219964"/>
                  <a:gd name="connsiteY12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813919 w 2219964"/>
                  <a:gd name="connsiteY9" fmla="*/ 2325662 h 3628333"/>
                  <a:gd name="connsiteX10" fmla="*/ 1085224 w 2219964"/>
                  <a:gd name="connsiteY10" fmla="*/ 1501697 h 3628333"/>
                  <a:gd name="connsiteX11" fmla="*/ 1607739 w 2219964"/>
                  <a:gd name="connsiteY11" fmla="*/ 1873486 h 3628333"/>
                  <a:gd name="connsiteX12" fmla="*/ 1808706 w 2219964"/>
                  <a:gd name="connsiteY12" fmla="*/ 1592132 h 3628333"/>
                  <a:gd name="connsiteX13" fmla="*/ 211016 w 2219964"/>
                  <a:gd name="connsiteY13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1085224 w 2219964"/>
                  <a:gd name="connsiteY10" fmla="*/ 1501697 h 3628333"/>
                  <a:gd name="connsiteX11" fmla="*/ 1607739 w 2219964"/>
                  <a:gd name="connsiteY11" fmla="*/ 1873486 h 3628333"/>
                  <a:gd name="connsiteX12" fmla="*/ 1808706 w 2219964"/>
                  <a:gd name="connsiteY12" fmla="*/ 1592132 h 3628333"/>
                  <a:gd name="connsiteX13" fmla="*/ 211016 w 2219964"/>
                  <a:gd name="connsiteY13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813919 w 2219964"/>
                  <a:gd name="connsiteY10" fmla="*/ 1883535 h 3628333"/>
                  <a:gd name="connsiteX11" fmla="*/ 1085224 w 2219964"/>
                  <a:gd name="connsiteY11" fmla="*/ 1501697 h 3628333"/>
                  <a:gd name="connsiteX12" fmla="*/ 1607739 w 2219964"/>
                  <a:gd name="connsiteY12" fmla="*/ 1873486 h 3628333"/>
                  <a:gd name="connsiteX13" fmla="*/ 1808706 w 2219964"/>
                  <a:gd name="connsiteY13" fmla="*/ 1592132 h 3628333"/>
                  <a:gd name="connsiteX14" fmla="*/ 211016 w 2219964"/>
                  <a:gd name="connsiteY14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944547 w 2219964"/>
                  <a:gd name="connsiteY10" fmla="*/ 1767979 h 3628333"/>
                  <a:gd name="connsiteX11" fmla="*/ 1085224 w 2219964"/>
                  <a:gd name="connsiteY11" fmla="*/ 1501697 h 3628333"/>
                  <a:gd name="connsiteX12" fmla="*/ 1607739 w 2219964"/>
                  <a:gd name="connsiteY12" fmla="*/ 1873486 h 3628333"/>
                  <a:gd name="connsiteX13" fmla="*/ 1808706 w 2219964"/>
                  <a:gd name="connsiteY13" fmla="*/ 1592132 h 3628333"/>
                  <a:gd name="connsiteX14" fmla="*/ 211016 w 2219964"/>
                  <a:gd name="connsiteY14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73725 w 2219964"/>
                  <a:gd name="connsiteY10" fmla="*/ 2009139 h 3628333"/>
                  <a:gd name="connsiteX11" fmla="*/ 944547 w 2219964"/>
                  <a:gd name="connsiteY11" fmla="*/ 1767979 h 3628333"/>
                  <a:gd name="connsiteX12" fmla="*/ 1085224 w 2219964"/>
                  <a:gd name="connsiteY12" fmla="*/ 1501697 h 3628333"/>
                  <a:gd name="connsiteX13" fmla="*/ 1607739 w 2219964"/>
                  <a:gd name="connsiteY13" fmla="*/ 1873486 h 3628333"/>
                  <a:gd name="connsiteX14" fmla="*/ 1808706 w 2219964"/>
                  <a:gd name="connsiteY14" fmla="*/ 1592132 h 3628333"/>
                  <a:gd name="connsiteX15" fmla="*/ 211016 w 2219964"/>
                  <a:gd name="connsiteY15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944547 w 2219964"/>
                  <a:gd name="connsiteY11" fmla="*/ 1767979 h 3628333"/>
                  <a:gd name="connsiteX12" fmla="*/ 1085224 w 2219964"/>
                  <a:gd name="connsiteY12" fmla="*/ 1501697 h 3628333"/>
                  <a:gd name="connsiteX13" fmla="*/ 1607739 w 2219964"/>
                  <a:gd name="connsiteY13" fmla="*/ 1873486 h 3628333"/>
                  <a:gd name="connsiteX14" fmla="*/ 1808706 w 2219964"/>
                  <a:gd name="connsiteY14" fmla="*/ 1592132 h 3628333"/>
                  <a:gd name="connsiteX15" fmla="*/ 211016 w 2219964"/>
                  <a:gd name="connsiteY15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944547 w 2219964"/>
                  <a:gd name="connsiteY11" fmla="*/ 1767979 h 3628333"/>
                  <a:gd name="connsiteX12" fmla="*/ 1085224 w 2219964"/>
                  <a:gd name="connsiteY12" fmla="*/ 1501697 h 3628333"/>
                  <a:gd name="connsiteX13" fmla="*/ 1607739 w 2219964"/>
                  <a:gd name="connsiteY13" fmla="*/ 1873486 h 3628333"/>
                  <a:gd name="connsiteX14" fmla="*/ 1808706 w 2219964"/>
                  <a:gd name="connsiteY14" fmla="*/ 1592132 h 3628333"/>
                  <a:gd name="connsiteX15" fmla="*/ 211016 w 2219964"/>
                  <a:gd name="connsiteY15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090248 w 2219964"/>
                  <a:gd name="connsiteY11" fmla="*/ 2024212 h 3628333"/>
                  <a:gd name="connsiteX12" fmla="*/ 944547 w 2219964"/>
                  <a:gd name="connsiteY12" fmla="*/ 1767979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44547 w 2219964"/>
                  <a:gd name="connsiteY12" fmla="*/ 1767979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84741 w 2219964"/>
                  <a:gd name="connsiteY12" fmla="*/ 1783052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84741 w 2219964"/>
                  <a:gd name="connsiteY12" fmla="*/ 1783052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84741 w 2219964"/>
                  <a:gd name="connsiteY12" fmla="*/ 1783052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29475 w 2219964"/>
                  <a:gd name="connsiteY12" fmla="*/ 1762955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29475 w 2219964"/>
                  <a:gd name="connsiteY12" fmla="*/ 1762955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29475 w 2219964"/>
                  <a:gd name="connsiteY12" fmla="*/ 1762955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29475 w 2219964"/>
                  <a:gd name="connsiteY12" fmla="*/ 1762955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577593 w 2219964"/>
                  <a:gd name="connsiteY11" fmla="*/ 2280445 h 3628333"/>
                  <a:gd name="connsiteX12" fmla="*/ 929475 w 2219964"/>
                  <a:gd name="connsiteY12" fmla="*/ 1762955 h 3628333"/>
                  <a:gd name="connsiteX13" fmla="*/ 1085224 w 2219964"/>
                  <a:gd name="connsiteY13" fmla="*/ 1501697 h 3628333"/>
                  <a:gd name="connsiteX14" fmla="*/ 1607739 w 2219964"/>
                  <a:gd name="connsiteY14" fmla="*/ 1873486 h 3628333"/>
                  <a:gd name="connsiteX15" fmla="*/ 1808706 w 2219964"/>
                  <a:gd name="connsiteY15" fmla="*/ 1592132 h 3628333"/>
                  <a:gd name="connsiteX16" fmla="*/ 211016 w 2219964"/>
                  <a:gd name="connsiteY16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245998 w 2219964"/>
                  <a:gd name="connsiteY11" fmla="*/ 2190010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65372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90493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90493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567735 w 2219964"/>
                  <a:gd name="connsiteY9" fmla="*/ 2290493 h 3628333"/>
                  <a:gd name="connsiteX10" fmla="*/ 763677 w 2219964"/>
                  <a:gd name="connsiteY10" fmla="*/ 2049333 h 3628333"/>
                  <a:gd name="connsiteX11" fmla="*/ 1381651 w 2219964"/>
                  <a:gd name="connsiteY11" fmla="*/ 2521605 h 3628333"/>
                  <a:gd name="connsiteX12" fmla="*/ 1577593 w 2219964"/>
                  <a:gd name="connsiteY12" fmla="*/ 2280445 h 3628333"/>
                  <a:gd name="connsiteX13" fmla="*/ 929475 w 2219964"/>
                  <a:gd name="connsiteY13" fmla="*/ 1762955 h 3628333"/>
                  <a:gd name="connsiteX14" fmla="*/ 1085224 w 2219964"/>
                  <a:gd name="connsiteY14" fmla="*/ 1501697 h 3628333"/>
                  <a:gd name="connsiteX15" fmla="*/ 1607739 w 2219964"/>
                  <a:gd name="connsiteY15" fmla="*/ 1873486 h 3628333"/>
                  <a:gd name="connsiteX16" fmla="*/ 1808706 w 2219964"/>
                  <a:gd name="connsiteY16" fmla="*/ 1592132 h 3628333"/>
                  <a:gd name="connsiteX17" fmla="*/ 211016 w 2219964"/>
                  <a:gd name="connsiteY17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713435 w 2219964"/>
                  <a:gd name="connsiteY9" fmla="*/ 2692427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70151 w 2219964"/>
                  <a:gd name="connsiteY9" fmla="*/ 2727597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70151 w 2219964"/>
                  <a:gd name="connsiteY9" fmla="*/ 2727597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70151 w 2219964"/>
                  <a:gd name="connsiteY9" fmla="*/ 2727597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50054 w 2219964"/>
                  <a:gd name="connsiteY9" fmla="*/ 2692428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0199 w 2219964"/>
                  <a:gd name="connsiteY9" fmla="*/ 2702476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0199 w 2219964"/>
                  <a:gd name="connsiteY9" fmla="*/ 2702476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080199 w 2219964"/>
                  <a:gd name="connsiteY9" fmla="*/ 2702476 h 3628333"/>
                  <a:gd name="connsiteX10" fmla="*/ 567735 w 2219964"/>
                  <a:gd name="connsiteY10" fmla="*/ 2290493 h 3628333"/>
                  <a:gd name="connsiteX11" fmla="*/ 763677 w 2219964"/>
                  <a:gd name="connsiteY11" fmla="*/ 2049333 h 3628333"/>
                  <a:gd name="connsiteX12" fmla="*/ 1381651 w 2219964"/>
                  <a:gd name="connsiteY12" fmla="*/ 2521605 h 3628333"/>
                  <a:gd name="connsiteX13" fmla="*/ 1577593 w 2219964"/>
                  <a:gd name="connsiteY13" fmla="*/ 2280445 h 3628333"/>
                  <a:gd name="connsiteX14" fmla="*/ 929475 w 2219964"/>
                  <a:gd name="connsiteY14" fmla="*/ 1762955 h 3628333"/>
                  <a:gd name="connsiteX15" fmla="*/ 1085224 w 2219964"/>
                  <a:gd name="connsiteY15" fmla="*/ 1501697 h 3628333"/>
                  <a:gd name="connsiteX16" fmla="*/ 1607739 w 2219964"/>
                  <a:gd name="connsiteY16" fmla="*/ 1873486 h 3628333"/>
                  <a:gd name="connsiteX17" fmla="*/ 1808706 w 2219964"/>
                  <a:gd name="connsiteY17" fmla="*/ 1592132 h 3628333"/>
                  <a:gd name="connsiteX18" fmla="*/ 211016 w 2219964"/>
                  <a:gd name="connsiteY18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874209 w 2219964"/>
                  <a:gd name="connsiteY9" fmla="*/ 2988853 h 3628333"/>
                  <a:gd name="connsiteX10" fmla="*/ 1080199 w 2219964"/>
                  <a:gd name="connsiteY10" fmla="*/ 2702476 h 3628333"/>
                  <a:gd name="connsiteX11" fmla="*/ 567735 w 2219964"/>
                  <a:gd name="connsiteY11" fmla="*/ 2290493 h 3628333"/>
                  <a:gd name="connsiteX12" fmla="*/ 763677 w 2219964"/>
                  <a:gd name="connsiteY12" fmla="*/ 2049333 h 3628333"/>
                  <a:gd name="connsiteX13" fmla="*/ 1381651 w 2219964"/>
                  <a:gd name="connsiteY13" fmla="*/ 2521605 h 3628333"/>
                  <a:gd name="connsiteX14" fmla="*/ 1577593 w 2219964"/>
                  <a:gd name="connsiteY14" fmla="*/ 2280445 h 3628333"/>
                  <a:gd name="connsiteX15" fmla="*/ 929475 w 2219964"/>
                  <a:gd name="connsiteY15" fmla="*/ 1762955 h 3628333"/>
                  <a:gd name="connsiteX16" fmla="*/ 1085224 w 2219964"/>
                  <a:gd name="connsiteY16" fmla="*/ 1501697 h 3628333"/>
                  <a:gd name="connsiteX17" fmla="*/ 1607739 w 2219964"/>
                  <a:gd name="connsiteY17" fmla="*/ 1873486 h 3628333"/>
                  <a:gd name="connsiteX18" fmla="*/ 1808706 w 2219964"/>
                  <a:gd name="connsiteY18" fmla="*/ 1592132 h 3628333"/>
                  <a:gd name="connsiteX19" fmla="*/ 211016 w 2219964"/>
                  <a:gd name="connsiteY19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316525 w 2219964"/>
                  <a:gd name="connsiteY9" fmla="*/ 2506532 h 3628333"/>
                  <a:gd name="connsiteX10" fmla="*/ 1080199 w 2219964"/>
                  <a:gd name="connsiteY10" fmla="*/ 2702476 h 3628333"/>
                  <a:gd name="connsiteX11" fmla="*/ 567735 w 2219964"/>
                  <a:gd name="connsiteY11" fmla="*/ 2290493 h 3628333"/>
                  <a:gd name="connsiteX12" fmla="*/ 763677 w 2219964"/>
                  <a:gd name="connsiteY12" fmla="*/ 2049333 h 3628333"/>
                  <a:gd name="connsiteX13" fmla="*/ 1381651 w 2219964"/>
                  <a:gd name="connsiteY13" fmla="*/ 2521605 h 3628333"/>
                  <a:gd name="connsiteX14" fmla="*/ 1577593 w 2219964"/>
                  <a:gd name="connsiteY14" fmla="*/ 2280445 h 3628333"/>
                  <a:gd name="connsiteX15" fmla="*/ 929475 w 2219964"/>
                  <a:gd name="connsiteY15" fmla="*/ 1762955 h 3628333"/>
                  <a:gd name="connsiteX16" fmla="*/ 1085224 w 2219964"/>
                  <a:gd name="connsiteY16" fmla="*/ 1501697 h 3628333"/>
                  <a:gd name="connsiteX17" fmla="*/ 1607739 w 2219964"/>
                  <a:gd name="connsiteY17" fmla="*/ 1873486 h 3628333"/>
                  <a:gd name="connsiteX18" fmla="*/ 1808706 w 2219964"/>
                  <a:gd name="connsiteY18" fmla="*/ 1592132 h 3628333"/>
                  <a:gd name="connsiteX19" fmla="*/ 211016 w 2219964"/>
                  <a:gd name="connsiteY19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371791 w 2219964"/>
                  <a:gd name="connsiteY9" fmla="*/ 2687403 h 3628333"/>
                  <a:gd name="connsiteX10" fmla="*/ 316525 w 2219964"/>
                  <a:gd name="connsiteY10" fmla="*/ 2506532 h 3628333"/>
                  <a:gd name="connsiteX11" fmla="*/ 1080199 w 2219964"/>
                  <a:gd name="connsiteY11" fmla="*/ 2702476 h 3628333"/>
                  <a:gd name="connsiteX12" fmla="*/ 567735 w 2219964"/>
                  <a:gd name="connsiteY12" fmla="*/ 2290493 h 3628333"/>
                  <a:gd name="connsiteX13" fmla="*/ 763677 w 2219964"/>
                  <a:gd name="connsiteY13" fmla="*/ 2049333 h 3628333"/>
                  <a:gd name="connsiteX14" fmla="*/ 1381651 w 2219964"/>
                  <a:gd name="connsiteY14" fmla="*/ 2521605 h 3628333"/>
                  <a:gd name="connsiteX15" fmla="*/ 1577593 w 2219964"/>
                  <a:gd name="connsiteY15" fmla="*/ 2280445 h 3628333"/>
                  <a:gd name="connsiteX16" fmla="*/ 929475 w 2219964"/>
                  <a:gd name="connsiteY16" fmla="*/ 1762955 h 3628333"/>
                  <a:gd name="connsiteX17" fmla="*/ 1085224 w 2219964"/>
                  <a:gd name="connsiteY17" fmla="*/ 1501697 h 3628333"/>
                  <a:gd name="connsiteX18" fmla="*/ 1607739 w 2219964"/>
                  <a:gd name="connsiteY18" fmla="*/ 1873486 h 3628333"/>
                  <a:gd name="connsiteX19" fmla="*/ 1808706 w 2219964"/>
                  <a:gd name="connsiteY19" fmla="*/ 1592132 h 3628333"/>
                  <a:gd name="connsiteX20" fmla="*/ 211016 w 2219964"/>
                  <a:gd name="connsiteY20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16525 w 2219964"/>
                  <a:gd name="connsiteY10" fmla="*/ 2506532 h 3628333"/>
                  <a:gd name="connsiteX11" fmla="*/ 1080199 w 2219964"/>
                  <a:gd name="connsiteY11" fmla="*/ 2702476 h 3628333"/>
                  <a:gd name="connsiteX12" fmla="*/ 567735 w 2219964"/>
                  <a:gd name="connsiteY12" fmla="*/ 2290493 h 3628333"/>
                  <a:gd name="connsiteX13" fmla="*/ 763677 w 2219964"/>
                  <a:gd name="connsiteY13" fmla="*/ 2049333 h 3628333"/>
                  <a:gd name="connsiteX14" fmla="*/ 1381651 w 2219964"/>
                  <a:gd name="connsiteY14" fmla="*/ 2521605 h 3628333"/>
                  <a:gd name="connsiteX15" fmla="*/ 1577593 w 2219964"/>
                  <a:gd name="connsiteY15" fmla="*/ 2280445 h 3628333"/>
                  <a:gd name="connsiteX16" fmla="*/ 929475 w 2219964"/>
                  <a:gd name="connsiteY16" fmla="*/ 1762955 h 3628333"/>
                  <a:gd name="connsiteX17" fmla="*/ 1085224 w 2219964"/>
                  <a:gd name="connsiteY17" fmla="*/ 1501697 h 3628333"/>
                  <a:gd name="connsiteX18" fmla="*/ 1607739 w 2219964"/>
                  <a:gd name="connsiteY18" fmla="*/ 1873486 h 3628333"/>
                  <a:gd name="connsiteX19" fmla="*/ 1808706 w 2219964"/>
                  <a:gd name="connsiteY19" fmla="*/ 1592132 h 3628333"/>
                  <a:gd name="connsiteX20" fmla="*/ 211016 w 2219964"/>
                  <a:gd name="connsiteY20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16525 w 2219964"/>
                  <a:gd name="connsiteY10" fmla="*/ 2506532 h 3628333"/>
                  <a:gd name="connsiteX11" fmla="*/ 768701 w 2219964"/>
                  <a:gd name="connsiteY11" fmla="*/ 2647210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16525 w 2219964"/>
                  <a:gd name="connsiteY10" fmla="*/ 2506532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16525 w 2219964"/>
                  <a:gd name="connsiteY10" fmla="*/ 2506532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16525 w 2219964"/>
                  <a:gd name="connsiteY10" fmla="*/ 2506532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21549 w 2219964"/>
                  <a:gd name="connsiteY10" fmla="*/ 2541701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21549 w 2219964"/>
                  <a:gd name="connsiteY10" fmla="*/ 2541701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21549 w 2219964"/>
                  <a:gd name="connsiteY10" fmla="*/ 2541701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67733 w 2219964"/>
                  <a:gd name="connsiteY8" fmla="*/ 3099385 h 3628333"/>
                  <a:gd name="connsiteX9" fmla="*/ 150727 w 2219964"/>
                  <a:gd name="connsiteY9" fmla="*/ 2752718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50727 w 2219964"/>
                  <a:gd name="connsiteY9" fmla="*/ 2752718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50727 w 2219964"/>
                  <a:gd name="connsiteY9" fmla="*/ 2752718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50727 w 2219964"/>
                  <a:gd name="connsiteY9" fmla="*/ 2752718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25606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25606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40679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40679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40679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  <a:gd name="connsiteX0" fmla="*/ 211016 w 2219964"/>
                  <a:gd name="connsiteY0" fmla="*/ 125072 h 3628333"/>
                  <a:gd name="connsiteX1" fmla="*/ 532565 w 2219964"/>
                  <a:gd name="connsiteY1" fmla="*/ 4492 h 3628333"/>
                  <a:gd name="connsiteX2" fmla="*/ 2054889 w 2219964"/>
                  <a:gd name="connsiteY2" fmla="*/ 1386139 h 3628333"/>
                  <a:gd name="connsiteX3" fmla="*/ 1919238 w 2219964"/>
                  <a:gd name="connsiteY3" fmla="*/ 2240250 h 3628333"/>
                  <a:gd name="connsiteX4" fmla="*/ 1436916 w 2219964"/>
                  <a:gd name="connsiteY4" fmla="*/ 2868272 h 3628333"/>
                  <a:gd name="connsiteX5" fmla="*/ 864159 w 2219964"/>
                  <a:gd name="connsiteY5" fmla="*/ 3280255 h 3628333"/>
                  <a:gd name="connsiteX6" fmla="*/ 0 w 2219964"/>
                  <a:gd name="connsiteY6" fmla="*/ 3521415 h 3628333"/>
                  <a:gd name="connsiteX7" fmla="*/ 135654 w 2219964"/>
                  <a:gd name="connsiteY7" fmla="*/ 3219965 h 3628333"/>
                  <a:gd name="connsiteX8" fmla="*/ 552660 w 2219964"/>
                  <a:gd name="connsiteY8" fmla="*/ 3129530 h 3628333"/>
                  <a:gd name="connsiteX9" fmla="*/ 140679 w 2219964"/>
                  <a:gd name="connsiteY9" fmla="*/ 2757742 h 3628333"/>
                  <a:gd name="connsiteX10" fmla="*/ 326573 w 2219964"/>
                  <a:gd name="connsiteY10" fmla="*/ 2521604 h 3628333"/>
                  <a:gd name="connsiteX11" fmla="*/ 884257 w 2219964"/>
                  <a:gd name="connsiteY11" fmla="*/ 2938612 h 3628333"/>
                  <a:gd name="connsiteX12" fmla="*/ 1080199 w 2219964"/>
                  <a:gd name="connsiteY12" fmla="*/ 2702476 h 3628333"/>
                  <a:gd name="connsiteX13" fmla="*/ 567735 w 2219964"/>
                  <a:gd name="connsiteY13" fmla="*/ 2290493 h 3628333"/>
                  <a:gd name="connsiteX14" fmla="*/ 763677 w 2219964"/>
                  <a:gd name="connsiteY14" fmla="*/ 2049333 h 3628333"/>
                  <a:gd name="connsiteX15" fmla="*/ 1381651 w 2219964"/>
                  <a:gd name="connsiteY15" fmla="*/ 2521605 h 3628333"/>
                  <a:gd name="connsiteX16" fmla="*/ 1577593 w 2219964"/>
                  <a:gd name="connsiteY16" fmla="*/ 2280445 h 3628333"/>
                  <a:gd name="connsiteX17" fmla="*/ 929475 w 2219964"/>
                  <a:gd name="connsiteY17" fmla="*/ 1762955 h 3628333"/>
                  <a:gd name="connsiteX18" fmla="*/ 1085224 w 2219964"/>
                  <a:gd name="connsiteY18" fmla="*/ 1501697 h 3628333"/>
                  <a:gd name="connsiteX19" fmla="*/ 1607739 w 2219964"/>
                  <a:gd name="connsiteY19" fmla="*/ 1873486 h 3628333"/>
                  <a:gd name="connsiteX20" fmla="*/ 1808706 w 2219964"/>
                  <a:gd name="connsiteY20" fmla="*/ 1592132 h 3628333"/>
                  <a:gd name="connsiteX21" fmla="*/ 211016 w 2219964"/>
                  <a:gd name="connsiteY21" fmla="*/ 125072 h 3628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219964" h="3628333">
                    <a:moveTo>
                      <a:pt x="211016" y="125072"/>
                    </a:moveTo>
                    <a:cubicBezTo>
                      <a:pt x="82063" y="-10581"/>
                      <a:pt x="415334" y="-5556"/>
                      <a:pt x="532565" y="4492"/>
                    </a:cubicBezTo>
                    <a:cubicBezTo>
                      <a:pt x="1316336" y="749744"/>
                      <a:pt x="1562521" y="897119"/>
                      <a:pt x="2054889" y="1386139"/>
                    </a:cubicBezTo>
                    <a:cubicBezTo>
                      <a:pt x="2436727" y="1853387"/>
                      <a:pt x="2054890" y="2184984"/>
                      <a:pt x="1919238" y="2240250"/>
                    </a:cubicBezTo>
                    <a:cubicBezTo>
                      <a:pt x="2013024" y="2829754"/>
                      <a:pt x="1574243" y="2861572"/>
                      <a:pt x="1436916" y="2868272"/>
                    </a:cubicBezTo>
                    <a:cubicBezTo>
                      <a:pt x="1318010" y="3369015"/>
                      <a:pt x="993113" y="3251785"/>
                      <a:pt x="864159" y="3280255"/>
                    </a:cubicBezTo>
                    <a:cubicBezTo>
                      <a:pt x="689988" y="3775973"/>
                      <a:pt x="128953" y="3628598"/>
                      <a:pt x="0" y="3521415"/>
                    </a:cubicBezTo>
                    <a:lnTo>
                      <a:pt x="135654" y="3219965"/>
                    </a:lnTo>
                    <a:cubicBezTo>
                      <a:pt x="480646" y="3471175"/>
                      <a:pt x="574432" y="3204892"/>
                      <a:pt x="552660" y="3129530"/>
                    </a:cubicBezTo>
                    <a:cubicBezTo>
                      <a:pt x="592016" y="3040770"/>
                      <a:pt x="242837" y="2901769"/>
                      <a:pt x="140679" y="2757742"/>
                    </a:cubicBezTo>
                    <a:cubicBezTo>
                      <a:pt x="38521" y="2658933"/>
                      <a:pt x="138167" y="2418609"/>
                      <a:pt x="326573" y="2521604"/>
                    </a:cubicBezTo>
                    <a:cubicBezTo>
                      <a:pt x="449666" y="2609527"/>
                      <a:pt x="756978" y="2905955"/>
                      <a:pt x="884257" y="2938612"/>
                    </a:cubicBezTo>
                    <a:cubicBezTo>
                      <a:pt x="1142164" y="3031559"/>
                      <a:pt x="1168959" y="2766953"/>
                      <a:pt x="1080199" y="2702476"/>
                    </a:cubicBezTo>
                    <a:cubicBezTo>
                      <a:pt x="874208" y="2507371"/>
                      <a:pt x="825642" y="2548400"/>
                      <a:pt x="567735" y="2290493"/>
                    </a:cubicBezTo>
                    <a:cubicBezTo>
                      <a:pt x="487348" y="2178287"/>
                      <a:pt x="542613" y="2005790"/>
                      <a:pt x="763677" y="2049333"/>
                    </a:cubicBezTo>
                    <a:cubicBezTo>
                      <a:pt x="886769" y="2122184"/>
                      <a:pt x="1245998" y="2483086"/>
                      <a:pt x="1381651" y="2521605"/>
                    </a:cubicBezTo>
                    <a:cubicBezTo>
                      <a:pt x="1602715" y="2665631"/>
                      <a:pt x="1710734" y="2346597"/>
                      <a:pt x="1577593" y="2280445"/>
                    </a:cubicBezTo>
                    <a:cubicBezTo>
                      <a:pt x="1524839" y="2209269"/>
                      <a:pt x="1025771" y="1855065"/>
                      <a:pt x="929475" y="1762955"/>
                    </a:cubicBezTo>
                    <a:cubicBezTo>
                      <a:pt x="767027" y="1603855"/>
                      <a:pt x="966319" y="1414611"/>
                      <a:pt x="1085224" y="1501697"/>
                    </a:cubicBezTo>
                    <a:lnTo>
                      <a:pt x="1607739" y="1873486"/>
                    </a:lnTo>
                    <a:cubicBezTo>
                      <a:pt x="1847224" y="2077801"/>
                      <a:pt x="2001300" y="1724436"/>
                      <a:pt x="1808706" y="1592132"/>
                    </a:cubicBezTo>
                    <a:lnTo>
                      <a:pt x="211016" y="125072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5" name="Group 174"/>
            <p:cNvGrpSpPr/>
            <p:nvPr/>
          </p:nvGrpSpPr>
          <p:grpSpPr>
            <a:xfrm>
              <a:off x="4554845" y="4584825"/>
              <a:ext cx="914400" cy="914400"/>
              <a:chOff x="5009517" y="2548210"/>
              <a:chExt cx="719207" cy="721878"/>
            </a:xfrm>
          </p:grpSpPr>
          <p:sp>
            <p:nvSpPr>
              <p:cNvPr id="176" name="Freeform 175"/>
              <p:cNvSpPr/>
              <p:nvPr/>
            </p:nvSpPr>
            <p:spPr>
              <a:xfrm>
                <a:off x="5009517" y="2548210"/>
                <a:ext cx="719207" cy="721878"/>
              </a:xfrm>
              <a:custGeom>
                <a:avLst/>
                <a:gdLst>
                  <a:gd name="connsiteX0" fmla="*/ 650734 w 1328932"/>
                  <a:gd name="connsiteY0" fmla="*/ 0 h 1333866"/>
                  <a:gd name="connsiteX1" fmla="*/ 673812 w 1328932"/>
                  <a:gd name="connsiteY1" fmla="*/ 79029 h 1333866"/>
                  <a:gd name="connsiteX2" fmla="*/ 737265 w 1328932"/>
                  <a:gd name="connsiteY2" fmla="*/ 83600 h 1333866"/>
                  <a:gd name="connsiteX3" fmla="*/ 773421 w 1328932"/>
                  <a:gd name="connsiteY3" fmla="*/ 6872 h 1333866"/>
                  <a:gd name="connsiteX4" fmla="*/ 827889 w 1328932"/>
                  <a:gd name="connsiteY4" fmla="*/ 18371 h 1333866"/>
                  <a:gd name="connsiteX5" fmla="*/ 829920 w 1328932"/>
                  <a:gd name="connsiteY5" fmla="*/ 102056 h 1333866"/>
                  <a:gd name="connsiteX6" fmla="*/ 831348 w 1328932"/>
                  <a:gd name="connsiteY6" fmla="*/ 102369 h 1333866"/>
                  <a:gd name="connsiteX7" fmla="*/ 889394 w 1328932"/>
                  <a:gd name="connsiteY7" fmla="*/ 124065 h 1333866"/>
                  <a:gd name="connsiteX8" fmla="*/ 946313 w 1328932"/>
                  <a:gd name="connsiteY8" fmla="*/ 59656 h 1333866"/>
                  <a:gd name="connsiteX9" fmla="*/ 995394 w 1328932"/>
                  <a:gd name="connsiteY9" fmla="*/ 85925 h 1333866"/>
                  <a:gd name="connsiteX10" fmla="*/ 973958 w 1328932"/>
                  <a:gd name="connsiteY10" fmla="*/ 166793 h 1333866"/>
                  <a:gd name="connsiteX11" fmla="*/ 979500 w 1328932"/>
                  <a:gd name="connsiteY11" fmla="*/ 169802 h 1333866"/>
                  <a:gd name="connsiteX12" fmla="*/ 1029879 w 1328932"/>
                  <a:gd name="connsiteY12" fmla="*/ 205872 h 1333866"/>
                  <a:gd name="connsiteX13" fmla="*/ 1101640 w 1328932"/>
                  <a:gd name="connsiteY13" fmla="*/ 160568 h 1333866"/>
                  <a:gd name="connsiteX14" fmla="*/ 1141398 w 1328932"/>
                  <a:gd name="connsiteY14" fmla="*/ 199536 h 1333866"/>
                  <a:gd name="connsiteX15" fmla="*/ 1098344 w 1328932"/>
                  <a:gd name="connsiteY15" fmla="*/ 270865 h 1333866"/>
                  <a:gd name="connsiteX16" fmla="*/ 1122993 w 1328932"/>
                  <a:gd name="connsiteY16" fmla="*/ 298349 h 1333866"/>
                  <a:gd name="connsiteX17" fmla="*/ 1143724 w 1328932"/>
                  <a:gd name="connsiteY17" fmla="*/ 328433 h 1333866"/>
                  <a:gd name="connsiteX18" fmla="*/ 1223600 w 1328932"/>
                  <a:gd name="connsiteY18" fmla="*/ 305308 h 1333866"/>
                  <a:gd name="connsiteX19" fmla="*/ 1250976 w 1328932"/>
                  <a:gd name="connsiteY19" fmla="*/ 353781 h 1333866"/>
                  <a:gd name="connsiteX20" fmla="*/ 1191329 w 1328932"/>
                  <a:gd name="connsiteY20" fmla="*/ 408950 h 1333866"/>
                  <a:gd name="connsiteX21" fmla="*/ 1210078 w 1328932"/>
                  <a:gd name="connsiteY21" fmla="*/ 447173 h 1333866"/>
                  <a:gd name="connsiteX22" fmla="*/ 1215570 w 1328932"/>
                  <a:gd name="connsiteY22" fmla="*/ 462927 h 1333866"/>
                  <a:gd name="connsiteX23" fmla="*/ 1297622 w 1328932"/>
                  <a:gd name="connsiteY23" fmla="*/ 459842 h 1333866"/>
                  <a:gd name="connsiteX24" fmla="*/ 1312464 w 1328932"/>
                  <a:gd name="connsiteY24" fmla="*/ 513497 h 1333866"/>
                  <a:gd name="connsiteX25" fmla="*/ 1241172 w 1328932"/>
                  <a:gd name="connsiteY25" fmla="*/ 552647 h 1333866"/>
                  <a:gd name="connsiteX26" fmla="*/ 1249127 w 1328932"/>
                  <a:gd name="connsiteY26" fmla="*/ 605882 h 1333866"/>
                  <a:gd name="connsiteX27" fmla="*/ 1250047 w 1328932"/>
                  <a:gd name="connsiteY27" fmla="*/ 624091 h 1333866"/>
                  <a:gd name="connsiteX28" fmla="*/ 1328932 w 1328932"/>
                  <a:gd name="connsiteY28" fmla="*/ 642753 h 1333866"/>
                  <a:gd name="connsiteX29" fmla="*/ 1328932 w 1328932"/>
                  <a:gd name="connsiteY29" fmla="*/ 698423 h 1333866"/>
                  <a:gd name="connsiteX30" fmla="*/ 1249387 w 1328932"/>
                  <a:gd name="connsiteY30" fmla="*/ 717241 h 1333866"/>
                  <a:gd name="connsiteX31" fmla="*/ 1248684 w 1328932"/>
                  <a:gd name="connsiteY31" fmla="*/ 730252 h 1333866"/>
                  <a:gd name="connsiteX32" fmla="*/ 1241256 w 1328932"/>
                  <a:gd name="connsiteY32" fmla="*/ 775655 h 1333866"/>
                  <a:gd name="connsiteX33" fmla="*/ 1313610 w 1328932"/>
                  <a:gd name="connsiteY33" fmla="*/ 816722 h 1333866"/>
                  <a:gd name="connsiteX34" fmla="*/ 1298015 w 1328932"/>
                  <a:gd name="connsiteY34" fmla="*/ 870162 h 1333866"/>
                  <a:gd name="connsiteX35" fmla="*/ 1216626 w 1328932"/>
                  <a:gd name="connsiteY35" fmla="*/ 865957 h 1333866"/>
                  <a:gd name="connsiteX36" fmla="*/ 1199435 w 1328932"/>
                  <a:gd name="connsiteY36" fmla="*/ 909582 h 1333866"/>
                  <a:gd name="connsiteX37" fmla="*/ 1190578 w 1328932"/>
                  <a:gd name="connsiteY37" fmla="*/ 927031 h 1333866"/>
                  <a:gd name="connsiteX38" fmla="*/ 1249948 w 1328932"/>
                  <a:gd name="connsiteY38" fmla="*/ 987184 h 1333866"/>
                  <a:gd name="connsiteX39" fmla="*/ 1220394 w 1328932"/>
                  <a:gd name="connsiteY39" fmla="*/ 1034361 h 1333866"/>
                  <a:gd name="connsiteX40" fmla="*/ 1142032 w 1328932"/>
                  <a:gd name="connsiteY40" fmla="*/ 1007753 h 1333866"/>
                  <a:gd name="connsiteX41" fmla="*/ 1123131 w 1328932"/>
                  <a:gd name="connsiteY41" fmla="*/ 1033400 h 1333866"/>
                  <a:gd name="connsiteX42" fmla="*/ 1101486 w 1328932"/>
                  <a:gd name="connsiteY42" fmla="*/ 1057553 h 1333866"/>
                  <a:gd name="connsiteX43" fmla="*/ 1142950 w 1328932"/>
                  <a:gd name="connsiteY43" fmla="*/ 1129630 h 1333866"/>
                  <a:gd name="connsiteX44" fmla="*/ 1102383 w 1328932"/>
                  <a:gd name="connsiteY44" fmla="*/ 1167754 h 1333866"/>
                  <a:gd name="connsiteX45" fmla="*/ 1034133 w 1328932"/>
                  <a:gd name="connsiteY45" fmla="*/ 1122634 h 1333866"/>
                  <a:gd name="connsiteX46" fmla="*/ 1032173 w 1328932"/>
                  <a:gd name="connsiteY46" fmla="*/ 1124392 h 1333866"/>
                  <a:gd name="connsiteX47" fmla="*/ 979289 w 1328932"/>
                  <a:gd name="connsiteY47" fmla="*/ 1160837 h 1333866"/>
                  <a:gd name="connsiteX48" fmla="*/ 1000685 w 1328932"/>
                  <a:gd name="connsiteY48" fmla="*/ 1238240 h 1333866"/>
                  <a:gd name="connsiteX49" fmla="*/ 951883 w 1328932"/>
                  <a:gd name="connsiteY49" fmla="*/ 1265027 h 1333866"/>
                  <a:gd name="connsiteX50" fmla="*/ 897347 w 1328932"/>
                  <a:gd name="connsiteY50" fmla="*/ 1204611 h 1333866"/>
                  <a:gd name="connsiteX51" fmla="*/ 883350 w 1328932"/>
                  <a:gd name="connsiteY51" fmla="*/ 1211476 h 1333866"/>
                  <a:gd name="connsiteX52" fmla="*/ 839354 w 1328932"/>
                  <a:gd name="connsiteY52" fmla="*/ 1226815 h 1333866"/>
                  <a:gd name="connsiteX53" fmla="*/ 836102 w 1328932"/>
                  <a:gd name="connsiteY53" fmla="*/ 1310758 h 1333866"/>
                  <a:gd name="connsiteX54" fmla="*/ 781473 w 1328932"/>
                  <a:gd name="connsiteY54" fmla="*/ 1321469 h 1333866"/>
                  <a:gd name="connsiteX55" fmla="*/ 747723 w 1328932"/>
                  <a:gd name="connsiteY55" fmla="*/ 1247077 h 1333866"/>
                  <a:gd name="connsiteX56" fmla="*/ 724640 w 1328932"/>
                  <a:gd name="connsiteY56" fmla="*/ 1250526 h 1333866"/>
                  <a:gd name="connsiteX57" fmla="*/ 680478 w 1328932"/>
                  <a:gd name="connsiteY57" fmla="*/ 1252756 h 1333866"/>
                  <a:gd name="connsiteX58" fmla="*/ 661856 w 1328932"/>
                  <a:gd name="connsiteY58" fmla="*/ 1333866 h 1333866"/>
                  <a:gd name="connsiteX59" fmla="*/ 596350 w 1328932"/>
                  <a:gd name="connsiteY59" fmla="*/ 1330734 h 1333866"/>
                  <a:gd name="connsiteX60" fmla="*/ 585472 w 1328932"/>
                  <a:gd name="connsiteY60" fmla="*/ 1247624 h 1333866"/>
                  <a:gd name="connsiteX61" fmla="*/ 546140 w 1328932"/>
                  <a:gd name="connsiteY61" fmla="*/ 1241622 h 1333866"/>
                  <a:gd name="connsiteX62" fmla="*/ 517647 w 1328932"/>
                  <a:gd name="connsiteY62" fmla="*/ 1234296 h 1333866"/>
                  <a:gd name="connsiteX63" fmla="*/ 473128 w 1328932"/>
                  <a:gd name="connsiteY63" fmla="*/ 1305805 h 1333866"/>
                  <a:gd name="connsiteX64" fmla="*/ 420365 w 1328932"/>
                  <a:gd name="connsiteY64" fmla="*/ 1288054 h 1333866"/>
                  <a:gd name="connsiteX65" fmla="*/ 428168 w 1328932"/>
                  <a:gd name="connsiteY65" fmla="*/ 1203686 h 1333866"/>
                  <a:gd name="connsiteX66" fmla="*/ 384478 w 1328932"/>
                  <a:gd name="connsiteY66" fmla="*/ 1182639 h 1333866"/>
                  <a:gd name="connsiteX67" fmla="*/ 369786 w 1328932"/>
                  <a:gd name="connsiteY67" fmla="*/ 1173432 h 1333866"/>
                  <a:gd name="connsiteX68" fmla="*/ 307149 w 1328932"/>
                  <a:gd name="connsiteY68" fmla="*/ 1230379 h 1333866"/>
                  <a:gd name="connsiteX69" fmla="*/ 261223 w 1328932"/>
                  <a:gd name="connsiteY69" fmla="*/ 1198917 h 1333866"/>
                  <a:gd name="connsiteX70" fmla="*/ 292070 w 1328932"/>
                  <a:gd name="connsiteY70" fmla="*/ 1118989 h 1333866"/>
                  <a:gd name="connsiteX71" fmla="*/ 266224 w 1328932"/>
                  <a:gd name="connsiteY71" fmla="*/ 1097936 h 1333866"/>
                  <a:gd name="connsiteX72" fmla="*/ 244458 w 1328932"/>
                  <a:gd name="connsiteY72" fmla="*/ 1075225 h 1333866"/>
                  <a:gd name="connsiteX73" fmla="*/ 170858 w 1328932"/>
                  <a:gd name="connsiteY73" fmla="*/ 1111425 h 1333866"/>
                  <a:gd name="connsiteX74" fmla="*/ 135448 w 1328932"/>
                  <a:gd name="connsiteY74" fmla="*/ 1068469 h 1333866"/>
                  <a:gd name="connsiteX75" fmla="*/ 184688 w 1328932"/>
                  <a:gd name="connsiteY75" fmla="*/ 1003573 h 1333866"/>
                  <a:gd name="connsiteX76" fmla="*/ 172420 w 1328932"/>
                  <a:gd name="connsiteY76" fmla="*/ 987127 h 1333866"/>
                  <a:gd name="connsiteX77" fmla="*/ 147185 w 1328932"/>
                  <a:gd name="connsiteY77" fmla="*/ 943990 h 1333866"/>
                  <a:gd name="connsiteX78" fmla="*/ 62973 w 1328932"/>
                  <a:gd name="connsiteY78" fmla="*/ 954755 h 1333866"/>
                  <a:gd name="connsiteX79" fmla="*/ 43391 w 1328932"/>
                  <a:gd name="connsiteY79" fmla="*/ 902643 h 1333866"/>
                  <a:gd name="connsiteX80" fmla="*/ 109846 w 1328932"/>
                  <a:gd name="connsiteY80" fmla="*/ 857979 h 1333866"/>
                  <a:gd name="connsiteX81" fmla="*/ 99254 w 1328932"/>
                  <a:gd name="connsiteY81" fmla="*/ 826823 h 1333866"/>
                  <a:gd name="connsiteX82" fmla="*/ 91285 w 1328932"/>
                  <a:gd name="connsiteY82" fmla="*/ 789027 h 1333866"/>
                  <a:gd name="connsiteX83" fmla="*/ 6677 w 1328932"/>
                  <a:gd name="connsiteY83" fmla="*/ 779505 h 1333866"/>
                  <a:gd name="connsiteX84" fmla="*/ 0 w 1328932"/>
                  <a:gd name="connsiteY84" fmla="*/ 724237 h 1333866"/>
                  <a:gd name="connsiteX85" fmla="*/ 78990 w 1328932"/>
                  <a:gd name="connsiteY85" fmla="*/ 695176 h 1333866"/>
                  <a:gd name="connsiteX86" fmla="*/ 76963 w 1328932"/>
                  <a:gd name="connsiteY86" fmla="*/ 665961 h 1333866"/>
                  <a:gd name="connsiteX87" fmla="*/ 79576 w 1328932"/>
                  <a:gd name="connsiteY87" fmla="*/ 627118 h 1333866"/>
                  <a:gd name="connsiteX88" fmla="*/ 2614 w 1328932"/>
                  <a:gd name="connsiteY88" fmla="*/ 599172 h 1333866"/>
                  <a:gd name="connsiteX89" fmla="*/ 9058 w 1328932"/>
                  <a:gd name="connsiteY89" fmla="*/ 543876 h 1333866"/>
                  <a:gd name="connsiteX90" fmla="*/ 92983 w 1328932"/>
                  <a:gd name="connsiteY90" fmla="*/ 534071 h 1333866"/>
                  <a:gd name="connsiteX91" fmla="*/ 97943 w 1328932"/>
                  <a:gd name="connsiteY91" fmla="*/ 509790 h 1333866"/>
                  <a:gd name="connsiteX92" fmla="*/ 113985 w 1328932"/>
                  <a:gd name="connsiteY92" fmla="*/ 463592 h 1333866"/>
                  <a:gd name="connsiteX93" fmla="*/ 48447 w 1328932"/>
                  <a:gd name="connsiteY93" fmla="*/ 415605 h 1333866"/>
                  <a:gd name="connsiteX94" fmla="*/ 70110 w 1328932"/>
                  <a:gd name="connsiteY94" fmla="*/ 364324 h 1333866"/>
                  <a:gd name="connsiteX95" fmla="*/ 152721 w 1328932"/>
                  <a:gd name="connsiteY95" fmla="*/ 378283 h 1333866"/>
                  <a:gd name="connsiteX96" fmla="*/ 157150 w 1328932"/>
                  <a:gd name="connsiteY96" fmla="*/ 369453 h 1333866"/>
                  <a:gd name="connsiteX97" fmla="*/ 186297 w 1328932"/>
                  <a:gd name="connsiteY97" fmla="*/ 325075 h 1333866"/>
                  <a:gd name="connsiteX98" fmla="*/ 136161 w 1328932"/>
                  <a:gd name="connsiteY98" fmla="*/ 260212 h 1333866"/>
                  <a:gd name="connsiteX99" fmla="*/ 171186 w 1328932"/>
                  <a:gd name="connsiteY99" fmla="*/ 216941 h 1333866"/>
                  <a:gd name="connsiteX100" fmla="*/ 247151 w 1328932"/>
                  <a:gd name="connsiteY100" fmla="*/ 253464 h 1333866"/>
                  <a:gd name="connsiteX101" fmla="*/ 270780 w 1328932"/>
                  <a:gd name="connsiteY101" fmla="*/ 229826 h 1333866"/>
                  <a:gd name="connsiteX102" fmla="*/ 297792 w 1328932"/>
                  <a:gd name="connsiteY102" fmla="*/ 208570 h 1333866"/>
                  <a:gd name="connsiteX103" fmla="*/ 270314 w 1328932"/>
                  <a:gd name="connsiteY103" fmla="*/ 128437 h 1333866"/>
                  <a:gd name="connsiteX104" fmla="*/ 317402 w 1328932"/>
                  <a:gd name="connsiteY104" fmla="*/ 98741 h 1333866"/>
                  <a:gd name="connsiteX105" fmla="*/ 375534 w 1328932"/>
                  <a:gd name="connsiteY105" fmla="*/ 155773 h 1333866"/>
                  <a:gd name="connsiteX106" fmla="*/ 403413 w 1328932"/>
                  <a:gd name="connsiteY106" fmla="*/ 139438 h 1333866"/>
                  <a:gd name="connsiteX107" fmla="*/ 430496 w 1328932"/>
                  <a:gd name="connsiteY107" fmla="*/ 127395 h 1333866"/>
                  <a:gd name="connsiteX108" fmla="*/ 422175 w 1328932"/>
                  <a:gd name="connsiteY108" fmla="*/ 43886 h 1333866"/>
                  <a:gd name="connsiteX109" fmla="*/ 474812 w 1328932"/>
                  <a:gd name="connsiteY109" fmla="*/ 25761 h 1333866"/>
                  <a:gd name="connsiteX110" fmla="*/ 519802 w 1328932"/>
                  <a:gd name="connsiteY110" fmla="*/ 96899 h 1333866"/>
                  <a:gd name="connsiteX111" fmla="*/ 546140 w 1328932"/>
                  <a:gd name="connsiteY111" fmla="*/ 90300 h 1333866"/>
                  <a:gd name="connsiteX112" fmla="*/ 580134 w 1328932"/>
                  <a:gd name="connsiteY112" fmla="*/ 85112 h 1333866"/>
                  <a:gd name="connsiteX113" fmla="*/ 595139 w 1328932"/>
                  <a:gd name="connsiteY113" fmla="*/ 2884 h 1333866"/>
                  <a:gd name="connsiteX114" fmla="*/ 650734 w 1328932"/>
                  <a:gd name="connsiteY114" fmla="*/ 0 h 1333866"/>
                  <a:gd name="connsiteX115" fmla="*/ 664466 w 1328932"/>
                  <a:gd name="connsiteY115" fmla="*/ 190154 h 1333866"/>
                  <a:gd name="connsiteX116" fmla="*/ 187687 w 1328932"/>
                  <a:gd name="connsiteY116" fmla="*/ 666933 h 1333866"/>
                  <a:gd name="connsiteX117" fmla="*/ 664466 w 1328932"/>
                  <a:gd name="connsiteY117" fmla="*/ 1143712 h 1333866"/>
                  <a:gd name="connsiteX118" fmla="*/ 1141245 w 1328932"/>
                  <a:gd name="connsiteY118" fmla="*/ 666933 h 1333866"/>
                  <a:gd name="connsiteX119" fmla="*/ 664466 w 1328932"/>
                  <a:gd name="connsiteY119" fmla="*/ 190154 h 1333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328932" h="1333866">
                    <a:moveTo>
                      <a:pt x="650734" y="0"/>
                    </a:moveTo>
                    <a:lnTo>
                      <a:pt x="673812" y="79029"/>
                    </a:lnTo>
                    <a:lnTo>
                      <a:pt x="737265" y="83600"/>
                    </a:lnTo>
                    <a:lnTo>
                      <a:pt x="773421" y="6872"/>
                    </a:lnTo>
                    <a:lnTo>
                      <a:pt x="827889" y="18371"/>
                    </a:lnTo>
                    <a:lnTo>
                      <a:pt x="829920" y="102056"/>
                    </a:lnTo>
                    <a:lnTo>
                      <a:pt x="831348" y="102369"/>
                    </a:lnTo>
                    <a:lnTo>
                      <a:pt x="889394" y="124065"/>
                    </a:lnTo>
                    <a:lnTo>
                      <a:pt x="946313" y="59656"/>
                    </a:lnTo>
                    <a:lnTo>
                      <a:pt x="995394" y="85925"/>
                    </a:lnTo>
                    <a:lnTo>
                      <a:pt x="973958" y="166793"/>
                    </a:lnTo>
                    <a:lnTo>
                      <a:pt x="979500" y="169802"/>
                    </a:lnTo>
                    <a:lnTo>
                      <a:pt x="1029879" y="205872"/>
                    </a:lnTo>
                    <a:lnTo>
                      <a:pt x="1101640" y="160568"/>
                    </a:lnTo>
                    <a:lnTo>
                      <a:pt x="1141398" y="199536"/>
                    </a:lnTo>
                    <a:lnTo>
                      <a:pt x="1098344" y="270865"/>
                    </a:lnTo>
                    <a:lnTo>
                      <a:pt x="1122993" y="298349"/>
                    </a:lnTo>
                    <a:lnTo>
                      <a:pt x="1143724" y="328433"/>
                    </a:lnTo>
                    <a:lnTo>
                      <a:pt x="1223600" y="305308"/>
                    </a:lnTo>
                    <a:lnTo>
                      <a:pt x="1250976" y="353781"/>
                    </a:lnTo>
                    <a:lnTo>
                      <a:pt x="1191329" y="408950"/>
                    </a:lnTo>
                    <a:lnTo>
                      <a:pt x="1210078" y="447173"/>
                    </a:lnTo>
                    <a:lnTo>
                      <a:pt x="1215570" y="462927"/>
                    </a:lnTo>
                    <a:lnTo>
                      <a:pt x="1297622" y="459842"/>
                    </a:lnTo>
                    <a:lnTo>
                      <a:pt x="1312464" y="513497"/>
                    </a:lnTo>
                    <a:lnTo>
                      <a:pt x="1241172" y="552647"/>
                    </a:lnTo>
                    <a:lnTo>
                      <a:pt x="1249127" y="605882"/>
                    </a:lnTo>
                    <a:lnTo>
                      <a:pt x="1250047" y="624091"/>
                    </a:lnTo>
                    <a:lnTo>
                      <a:pt x="1328932" y="642753"/>
                    </a:lnTo>
                    <a:lnTo>
                      <a:pt x="1328932" y="698423"/>
                    </a:lnTo>
                    <a:lnTo>
                      <a:pt x="1249387" y="717241"/>
                    </a:lnTo>
                    <a:lnTo>
                      <a:pt x="1248684" y="730252"/>
                    </a:lnTo>
                    <a:lnTo>
                      <a:pt x="1241256" y="775655"/>
                    </a:lnTo>
                    <a:lnTo>
                      <a:pt x="1313610" y="816722"/>
                    </a:lnTo>
                    <a:lnTo>
                      <a:pt x="1298015" y="870162"/>
                    </a:lnTo>
                    <a:lnTo>
                      <a:pt x="1216626" y="865957"/>
                    </a:lnTo>
                    <a:lnTo>
                      <a:pt x="1199435" y="909582"/>
                    </a:lnTo>
                    <a:lnTo>
                      <a:pt x="1190578" y="927031"/>
                    </a:lnTo>
                    <a:lnTo>
                      <a:pt x="1249948" y="987184"/>
                    </a:lnTo>
                    <a:lnTo>
                      <a:pt x="1220394" y="1034361"/>
                    </a:lnTo>
                    <a:lnTo>
                      <a:pt x="1142032" y="1007753"/>
                    </a:lnTo>
                    <a:lnTo>
                      <a:pt x="1123131" y="1033400"/>
                    </a:lnTo>
                    <a:lnTo>
                      <a:pt x="1101486" y="1057553"/>
                    </a:lnTo>
                    <a:lnTo>
                      <a:pt x="1142950" y="1129630"/>
                    </a:lnTo>
                    <a:lnTo>
                      <a:pt x="1102383" y="1167754"/>
                    </a:lnTo>
                    <a:lnTo>
                      <a:pt x="1034133" y="1122634"/>
                    </a:lnTo>
                    <a:lnTo>
                      <a:pt x="1032173" y="1124392"/>
                    </a:lnTo>
                    <a:lnTo>
                      <a:pt x="979289" y="1160837"/>
                    </a:lnTo>
                    <a:lnTo>
                      <a:pt x="1000685" y="1238240"/>
                    </a:lnTo>
                    <a:lnTo>
                      <a:pt x="951883" y="1265027"/>
                    </a:lnTo>
                    <a:lnTo>
                      <a:pt x="897347" y="1204611"/>
                    </a:lnTo>
                    <a:lnTo>
                      <a:pt x="883350" y="1211476"/>
                    </a:lnTo>
                    <a:lnTo>
                      <a:pt x="839354" y="1226815"/>
                    </a:lnTo>
                    <a:lnTo>
                      <a:pt x="836102" y="1310758"/>
                    </a:lnTo>
                    <a:lnTo>
                      <a:pt x="781473" y="1321469"/>
                    </a:lnTo>
                    <a:lnTo>
                      <a:pt x="747723" y="1247077"/>
                    </a:lnTo>
                    <a:lnTo>
                      <a:pt x="724640" y="1250526"/>
                    </a:lnTo>
                    <a:lnTo>
                      <a:pt x="680478" y="1252756"/>
                    </a:lnTo>
                    <a:lnTo>
                      <a:pt x="661856" y="1333866"/>
                    </a:lnTo>
                    <a:lnTo>
                      <a:pt x="596350" y="1330734"/>
                    </a:lnTo>
                    <a:lnTo>
                      <a:pt x="585472" y="1247624"/>
                    </a:lnTo>
                    <a:lnTo>
                      <a:pt x="546140" y="1241622"/>
                    </a:lnTo>
                    <a:lnTo>
                      <a:pt x="517647" y="1234296"/>
                    </a:lnTo>
                    <a:lnTo>
                      <a:pt x="473128" y="1305805"/>
                    </a:lnTo>
                    <a:lnTo>
                      <a:pt x="420365" y="1288054"/>
                    </a:lnTo>
                    <a:lnTo>
                      <a:pt x="428168" y="1203686"/>
                    </a:lnTo>
                    <a:lnTo>
                      <a:pt x="384478" y="1182639"/>
                    </a:lnTo>
                    <a:lnTo>
                      <a:pt x="369786" y="1173432"/>
                    </a:lnTo>
                    <a:lnTo>
                      <a:pt x="307149" y="1230379"/>
                    </a:lnTo>
                    <a:lnTo>
                      <a:pt x="261223" y="1198917"/>
                    </a:lnTo>
                    <a:lnTo>
                      <a:pt x="292070" y="1118989"/>
                    </a:lnTo>
                    <a:lnTo>
                      <a:pt x="266224" y="1097936"/>
                    </a:lnTo>
                    <a:lnTo>
                      <a:pt x="244458" y="1075225"/>
                    </a:lnTo>
                    <a:lnTo>
                      <a:pt x="170858" y="1111425"/>
                    </a:lnTo>
                    <a:lnTo>
                      <a:pt x="135448" y="1068469"/>
                    </a:lnTo>
                    <a:lnTo>
                      <a:pt x="184688" y="1003573"/>
                    </a:lnTo>
                    <a:lnTo>
                      <a:pt x="172420" y="987127"/>
                    </a:lnTo>
                    <a:lnTo>
                      <a:pt x="147185" y="943990"/>
                    </a:lnTo>
                    <a:lnTo>
                      <a:pt x="62973" y="954755"/>
                    </a:lnTo>
                    <a:lnTo>
                      <a:pt x="43391" y="902643"/>
                    </a:lnTo>
                    <a:lnTo>
                      <a:pt x="109846" y="857979"/>
                    </a:lnTo>
                    <a:lnTo>
                      <a:pt x="99254" y="826823"/>
                    </a:lnTo>
                    <a:lnTo>
                      <a:pt x="91285" y="789027"/>
                    </a:lnTo>
                    <a:lnTo>
                      <a:pt x="6677" y="779505"/>
                    </a:lnTo>
                    <a:lnTo>
                      <a:pt x="0" y="724237"/>
                    </a:lnTo>
                    <a:lnTo>
                      <a:pt x="78990" y="695176"/>
                    </a:lnTo>
                    <a:lnTo>
                      <a:pt x="76963" y="665961"/>
                    </a:lnTo>
                    <a:lnTo>
                      <a:pt x="79576" y="627118"/>
                    </a:lnTo>
                    <a:lnTo>
                      <a:pt x="2614" y="599172"/>
                    </a:lnTo>
                    <a:lnTo>
                      <a:pt x="9058" y="543876"/>
                    </a:lnTo>
                    <a:lnTo>
                      <a:pt x="92983" y="534071"/>
                    </a:lnTo>
                    <a:lnTo>
                      <a:pt x="97943" y="509790"/>
                    </a:lnTo>
                    <a:lnTo>
                      <a:pt x="113985" y="463592"/>
                    </a:lnTo>
                    <a:lnTo>
                      <a:pt x="48447" y="415605"/>
                    </a:lnTo>
                    <a:lnTo>
                      <a:pt x="70110" y="364324"/>
                    </a:lnTo>
                    <a:lnTo>
                      <a:pt x="152721" y="378283"/>
                    </a:lnTo>
                    <a:lnTo>
                      <a:pt x="157150" y="369453"/>
                    </a:lnTo>
                    <a:lnTo>
                      <a:pt x="186297" y="325075"/>
                    </a:lnTo>
                    <a:lnTo>
                      <a:pt x="136161" y="260212"/>
                    </a:lnTo>
                    <a:lnTo>
                      <a:pt x="171186" y="216941"/>
                    </a:lnTo>
                    <a:lnTo>
                      <a:pt x="247151" y="253464"/>
                    </a:lnTo>
                    <a:lnTo>
                      <a:pt x="270780" y="229826"/>
                    </a:lnTo>
                    <a:lnTo>
                      <a:pt x="297792" y="208570"/>
                    </a:lnTo>
                    <a:lnTo>
                      <a:pt x="270314" y="128437"/>
                    </a:lnTo>
                    <a:lnTo>
                      <a:pt x="317402" y="98741"/>
                    </a:lnTo>
                    <a:lnTo>
                      <a:pt x="375534" y="155773"/>
                    </a:lnTo>
                    <a:lnTo>
                      <a:pt x="403413" y="139438"/>
                    </a:lnTo>
                    <a:lnTo>
                      <a:pt x="430496" y="127395"/>
                    </a:lnTo>
                    <a:lnTo>
                      <a:pt x="422175" y="43886"/>
                    </a:lnTo>
                    <a:lnTo>
                      <a:pt x="474812" y="25761"/>
                    </a:lnTo>
                    <a:lnTo>
                      <a:pt x="519802" y="96899"/>
                    </a:lnTo>
                    <a:lnTo>
                      <a:pt x="546140" y="90300"/>
                    </a:lnTo>
                    <a:lnTo>
                      <a:pt x="580134" y="85112"/>
                    </a:lnTo>
                    <a:lnTo>
                      <a:pt x="595139" y="2884"/>
                    </a:lnTo>
                    <a:lnTo>
                      <a:pt x="650734" y="0"/>
                    </a:lnTo>
                    <a:close/>
                    <a:moveTo>
                      <a:pt x="664466" y="190154"/>
                    </a:moveTo>
                    <a:cubicBezTo>
                      <a:pt x="401148" y="190154"/>
                      <a:pt x="187687" y="403615"/>
                      <a:pt x="187687" y="666933"/>
                    </a:cubicBezTo>
                    <a:cubicBezTo>
                      <a:pt x="187687" y="930251"/>
                      <a:pt x="401148" y="1143712"/>
                      <a:pt x="664466" y="1143712"/>
                    </a:cubicBezTo>
                    <a:cubicBezTo>
                      <a:pt x="927784" y="1143712"/>
                      <a:pt x="1141245" y="930251"/>
                      <a:pt x="1141245" y="666933"/>
                    </a:cubicBezTo>
                    <a:cubicBezTo>
                      <a:pt x="1141245" y="403615"/>
                      <a:pt x="927784" y="190154"/>
                      <a:pt x="664466" y="190154"/>
                    </a:cubicBezTo>
                    <a:close/>
                  </a:path>
                </a:pathLst>
              </a:custGeom>
              <a:solidFill>
                <a:srgbClr val="5B9BD5">
                  <a:lumMod val="60000"/>
                  <a:lumOff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>
              <a:xfrm>
                <a:off x="5129337" y="2669366"/>
                <a:ext cx="479566" cy="479567"/>
              </a:xfrm>
              <a:prstGeom prst="ellipse">
                <a:avLst/>
              </a:prstGeom>
              <a:solidFill>
                <a:srgbClr val="5B9BD5">
                  <a:lumMod val="60000"/>
                  <a:lumOff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" name="Rectangle 1"/>
              <p:cNvSpPr/>
              <p:nvPr/>
            </p:nvSpPr>
            <p:spPr>
              <a:xfrm rot="21057610">
                <a:off x="5282411" y="2882564"/>
                <a:ext cx="33514" cy="44319"/>
              </a:xfrm>
              <a:custGeom>
                <a:avLst/>
                <a:gdLst>
                  <a:gd name="connsiteX0" fmla="*/ 0 w 665018"/>
                  <a:gd name="connsiteY0" fmla="*/ 0 h 522806"/>
                  <a:gd name="connsiteX1" fmla="*/ 665018 w 665018"/>
                  <a:gd name="connsiteY1" fmla="*/ 0 h 522806"/>
                  <a:gd name="connsiteX2" fmla="*/ 665018 w 665018"/>
                  <a:gd name="connsiteY2" fmla="*/ 522806 h 522806"/>
                  <a:gd name="connsiteX3" fmla="*/ 0 w 665018"/>
                  <a:gd name="connsiteY3" fmla="*/ 522806 h 522806"/>
                  <a:gd name="connsiteX4" fmla="*/ 0 w 665018"/>
                  <a:gd name="connsiteY4" fmla="*/ 0 h 522806"/>
                  <a:gd name="connsiteX0" fmla="*/ 0 w 665018"/>
                  <a:gd name="connsiteY0" fmla="*/ 0 h 522806"/>
                  <a:gd name="connsiteX1" fmla="*/ 665018 w 665018"/>
                  <a:gd name="connsiteY1" fmla="*/ 0 h 522806"/>
                  <a:gd name="connsiteX2" fmla="*/ 665018 w 665018"/>
                  <a:gd name="connsiteY2" fmla="*/ 522806 h 522806"/>
                  <a:gd name="connsiteX3" fmla="*/ 266466 w 665018"/>
                  <a:gd name="connsiteY3" fmla="*/ 505977 h 522806"/>
                  <a:gd name="connsiteX4" fmla="*/ 0 w 665018"/>
                  <a:gd name="connsiteY4" fmla="*/ 0 h 522806"/>
                  <a:gd name="connsiteX0" fmla="*/ 56099 w 398552"/>
                  <a:gd name="connsiteY0" fmla="*/ 159880 h 522806"/>
                  <a:gd name="connsiteX1" fmla="*/ 398552 w 398552"/>
                  <a:gd name="connsiteY1" fmla="*/ 0 h 522806"/>
                  <a:gd name="connsiteX2" fmla="*/ 398552 w 398552"/>
                  <a:gd name="connsiteY2" fmla="*/ 522806 h 522806"/>
                  <a:gd name="connsiteX3" fmla="*/ 0 w 398552"/>
                  <a:gd name="connsiteY3" fmla="*/ 505977 h 522806"/>
                  <a:gd name="connsiteX4" fmla="*/ 56099 w 398552"/>
                  <a:gd name="connsiteY4" fmla="*/ 159880 h 522806"/>
                  <a:gd name="connsiteX0" fmla="*/ 0 w 507943"/>
                  <a:gd name="connsiteY0" fmla="*/ 157075 h 522806"/>
                  <a:gd name="connsiteX1" fmla="*/ 507943 w 507943"/>
                  <a:gd name="connsiteY1" fmla="*/ 0 h 522806"/>
                  <a:gd name="connsiteX2" fmla="*/ 507943 w 507943"/>
                  <a:gd name="connsiteY2" fmla="*/ 522806 h 522806"/>
                  <a:gd name="connsiteX3" fmla="*/ 109391 w 507943"/>
                  <a:gd name="connsiteY3" fmla="*/ 505977 h 522806"/>
                  <a:gd name="connsiteX4" fmla="*/ 0 w 507943"/>
                  <a:gd name="connsiteY4" fmla="*/ 157075 h 522806"/>
                  <a:gd name="connsiteX0" fmla="*/ 0 w 507943"/>
                  <a:gd name="connsiteY0" fmla="*/ 157075 h 522806"/>
                  <a:gd name="connsiteX1" fmla="*/ 507943 w 507943"/>
                  <a:gd name="connsiteY1" fmla="*/ 0 h 522806"/>
                  <a:gd name="connsiteX2" fmla="*/ 507943 w 507943"/>
                  <a:gd name="connsiteY2" fmla="*/ 522806 h 522806"/>
                  <a:gd name="connsiteX3" fmla="*/ 109391 w 507943"/>
                  <a:gd name="connsiteY3" fmla="*/ 505977 h 522806"/>
                  <a:gd name="connsiteX4" fmla="*/ 0 w 507943"/>
                  <a:gd name="connsiteY4" fmla="*/ 157075 h 522806"/>
                  <a:gd name="connsiteX0" fmla="*/ 0 w 507943"/>
                  <a:gd name="connsiteY0" fmla="*/ 79373 h 445104"/>
                  <a:gd name="connsiteX1" fmla="*/ 216233 w 507943"/>
                  <a:gd name="connsiteY1" fmla="*/ 76568 h 445104"/>
                  <a:gd name="connsiteX2" fmla="*/ 507943 w 507943"/>
                  <a:gd name="connsiteY2" fmla="*/ 445104 h 445104"/>
                  <a:gd name="connsiteX3" fmla="*/ 109391 w 507943"/>
                  <a:gd name="connsiteY3" fmla="*/ 428275 h 445104"/>
                  <a:gd name="connsiteX4" fmla="*/ 0 w 507943"/>
                  <a:gd name="connsiteY4" fmla="*/ 79373 h 445104"/>
                  <a:gd name="connsiteX0" fmla="*/ 0 w 507943"/>
                  <a:gd name="connsiteY0" fmla="*/ 108291 h 474022"/>
                  <a:gd name="connsiteX1" fmla="*/ 216233 w 507943"/>
                  <a:gd name="connsiteY1" fmla="*/ 105486 h 474022"/>
                  <a:gd name="connsiteX2" fmla="*/ 507943 w 507943"/>
                  <a:gd name="connsiteY2" fmla="*/ 474022 h 474022"/>
                  <a:gd name="connsiteX3" fmla="*/ 109391 w 507943"/>
                  <a:gd name="connsiteY3" fmla="*/ 457193 h 474022"/>
                  <a:gd name="connsiteX4" fmla="*/ 0 w 507943"/>
                  <a:gd name="connsiteY4" fmla="*/ 108291 h 474022"/>
                  <a:gd name="connsiteX0" fmla="*/ 0 w 507943"/>
                  <a:gd name="connsiteY0" fmla="*/ 122543 h 488274"/>
                  <a:gd name="connsiteX1" fmla="*/ 353673 w 507943"/>
                  <a:gd name="connsiteY1" fmla="*/ 83274 h 488274"/>
                  <a:gd name="connsiteX2" fmla="*/ 507943 w 507943"/>
                  <a:gd name="connsiteY2" fmla="*/ 488274 h 488274"/>
                  <a:gd name="connsiteX3" fmla="*/ 109391 w 507943"/>
                  <a:gd name="connsiteY3" fmla="*/ 471445 h 488274"/>
                  <a:gd name="connsiteX4" fmla="*/ 0 w 507943"/>
                  <a:gd name="connsiteY4" fmla="*/ 122543 h 488274"/>
                  <a:gd name="connsiteX0" fmla="*/ 0 w 353673"/>
                  <a:gd name="connsiteY0" fmla="*/ 122543 h 471445"/>
                  <a:gd name="connsiteX1" fmla="*/ 353673 w 353673"/>
                  <a:gd name="connsiteY1" fmla="*/ 83274 h 471445"/>
                  <a:gd name="connsiteX2" fmla="*/ 176964 w 353673"/>
                  <a:gd name="connsiteY2" fmla="*/ 376078 h 471445"/>
                  <a:gd name="connsiteX3" fmla="*/ 109391 w 353673"/>
                  <a:gd name="connsiteY3" fmla="*/ 471445 h 471445"/>
                  <a:gd name="connsiteX4" fmla="*/ 0 w 353673"/>
                  <a:gd name="connsiteY4" fmla="*/ 122543 h 471445"/>
                  <a:gd name="connsiteX0" fmla="*/ 0 w 353673"/>
                  <a:gd name="connsiteY0" fmla="*/ 122543 h 471445"/>
                  <a:gd name="connsiteX1" fmla="*/ 353673 w 353673"/>
                  <a:gd name="connsiteY1" fmla="*/ 83274 h 471445"/>
                  <a:gd name="connsiteX2" fmla="*/ 272331 w 353673"/>
                  <a:gd name="connsiteY2" fmla="*/ 440591 h 471445"/>
                  <a:gd name="connsiteX3" fmla="*/ 109391 w 353673"/>
                  <a:gd name="connsiteY3" fmla="*/ 471445 h 471445"/>
                  <a:gd name="connsiteX4" fmla="*/ 0 w 353673"/>
                  <a:gd name="connsiteY4" fmla="*/ 122543 h 471445"/>
                  <a:gd name="connsiteX0" fmla="*/ 0 w 353673"/>
                  <a:gd name="connsiteY0" fmla="*/ 122543 h 472875"/>
                  <a:gd name="connsiteX1" fmla="*/ 353673 w 353673"/>
                  <a:gd name="connsiteY1" fmla="*/ 83274 h 472875"/>
                  <a:gd name="connsiteX2" fmla="*/ 272331 w 353673"/>
                  <a:gd name="connsiteY2" fmla="*/ 440591 h 472875"/>
                  <a:gd name="connsiteX3" fmla="*/ 109391 w 353673"/>
                  <a:gd name="connsiteY3" fmla="*/ 471445 h 472875"/>
                  <a:gd name="connsiteX4" fmla="*/ 0 w 353673"/>
                  <a:gd name="connsiteY4" fmla="*/ 122543 h 472875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8355 h 496033"/>
                  <a:gd name="connsiteX1" fmla="*/ 353673 w 353673"/>
                  <a:gd name="connsiteY1" fmla="*/ 89086 h 496033"/>
                  <a:gd name="connsiteX2" fmla="*/ 272331 w 353673"/>
                  <a:gd name="connsiteY2" fmla="*/ 446403 h 496033"/>
                  <a:gd name="connsiteX3" fmla="*/ 109391 w 353673"/>
                  <a:gd name="connsiteY3" fmla="*/ 477257 h 496033"/>
                  <a:gd name="connsiteX4" fmla="*/ 0 w 353673"/>
                  <a:gd name="connsiteY4" fmla="*/ 128355 h 496033"/>
                  <a:gd name="connsiteX0" fmla="*/ 0 w 355143"/>
                  <a:gd name="connsiteY0" fmla="*/ 128355 h 496033"/>
                  <a:gd name="connsiteX1" fmla="*/ 353673 w 355143"/>
                  <a:gd name="connsiteY1" fmla="*/ 89086 h 496033"/>
                  <a:gd name="connsiteX2" fmla="*/ 272331 w 355143"/>
                  <a:gd name="connsiteY2" fmla="*/ 446403 h 496033"/>
                  <a:gd name="connsiteX3" fmla="*/ 109391 w 355143"/>
                  <a:gd name="connsiteY3" fmla="*/ 477257 h 496033"/>
                  <a:gd name="connsiteX4" fmla="*/ 0 w 355143"/>
                  <a:gd name="connsiteY4" fmla="*/ 128355 h 496033"/>
                  <a:gd name="connsiteX0" fmla="*/ 0 w 355930"/>
                  <a:gd name="connsiteY0" fmla="*/ 128355 h 496033"/>
                  <a:gd name="connsiteX1" fmla="*/ 353673 w 355930"/>
                  <a:gd name="connsiteY1" fmla="*/ 89086 h 496033"/>
                  <a:gd name="connsiteX2" fmla="*/ 272331 w 355930"/>
                  <a:gd name="connsiteY2" fmla="*/ 446403 h 496033"/>
                  <a:gd name="connsiteX3" fmla="*/ 109391 w 355930"/>
                  <a:gd name="connsiteY3" fmla="*/ 477257 h 496033"/>
                  <a:gd name="connsiteX4" fmla="*/ 0 w 355930"/>
                  <a:gd name="connsiteY4" fmla="*/ 128355 h 496033"/>
                  <a:gd name="connsiteX0" fmla="*/ 0 w 356185"/>
                  <a:gd name="connsiteY0" fmla="*/ 128355 h 496033"/>
                  <a:gd name="connsiteX1" fmla="*/ 353673 w 356185"/>
                  <a:gd name="connsiteY1" fmla="*/ 89086 h 496033"/>
                  <a:gd name="connsiteX2" fmla="*/ 272331 w 356185"/>
                  <a:gd name="connsiteY2" fmla="*/ 446403 h 496033"/>
                  <a:gd name="connsiteX3" fmla="*/ 109391 w 356185"/>
                  <a:gd name="connsiteY3" fmla="*/ 477257 h 496033"/>
                  <a:gd name="connsiteX4" fmla="*/ 0 w 356185"/>
                  <a:gd name="connsiteY4" fmla="*/ 128355 h 496033"/>
                  <a:gd name="connsiteX0" fmla="*/ 0 w 355606"/>
                  <a:gd name="connsiteY0" fmla="*/ 128355 h 498044"/>
                  <a:gd name="connsiteX1" fmla="*/ 353673 w 355606"/>
                  <a:gd name="connsiteY1" fmla="*/ 89086 h 498044"/>
                  <a:gd name="connsiteX2" fmla="*/ 258307 w 355606"/>
                  <a:gd name="connsiteY2" fmla="*/ 452013 h 498044"/>
                  <a:gd name="connsiteX3" fmla="*/ 109391 w 355606"/>
                  <a:gd name="connsiteY3" fmla="*/ 477257 h 498044"/>
                  <a:gd name="connsiteX4" fmla="*/ 0 w 355606"/>
                  <a:gd name="connsiteY4" fmla="*/ 128355 h 498044"/>
                  <a:gd name="connsiteX0" fmla="*/ 0 w 355606"/>
                  <a:gd name="connsiteY0" fmla="*/ 128355 h 498044"/>
                  <a:gd name="connsiteX1" fmla="*/ 353673 w 355606"/>
                  <a:gd name="connsiteY1" fmla="*/ 89086 h 498044"/>
                  <a:gd name="connsiteX2" fmla="*/ 258307 w 355606"/>
                  <a:gd name="connsiteY2" fmla="*/ 452013 h 498044"/>
                  <a:gd name="connsiteX3" fmla="*/ 109391 w 355606"/>
                  <a:gd name="connsiteY3" fmla="*/ 477257 h 498044"/>
                  <a:gd name="connsiteX4" fmla="*/ 0 w 355606"/>
                  <a:gd name="connsiteY4" fmla="*/ 128355 h 498044"/>
                  <a:gd name="connsiteX0" fmla="*/ 0 w 361902"/>
                  <a:gd name="connsiteY0" fmla="*/ 128355 h 498044"/>
                  <a:gd name="connsiteX1" fmla="*/ 353673 w 361902"/>
                  <a:gd name="connsiteY1" fmla="*/ 89086 h 498044"/>
                  <a:gd name="connsiteX2" fmla="*/ 258307 w 361902"/>
                  <a:gd name="connsiteY2" fmla="*/ 452013 h 498044"/>
                  <a:gd name="connsiteX3" fmla="*/ 109391 w 361902"/>
                  <a:gd name="connsiteY3" fmla="*/ 477257 h 498044"/>
                  <a:gd name="connsiteX4" fmla="*/ 0 w 361902"/>
                  <a:gd name="connsiteY4" fmla="*/ 128355 h 498044"/>
                  <a:gd name="connsiteX0" fmla="*/ 0 w 361902"/>
                  <a:gd name="connsiteY0" fmla="*/ 149137 h 518826"/>
                  <a:gd name="connsiteX1" fmla="*/ 353673 w 361902"/>
                  <a:gd name="connsiteY1" fmla="*/ 109868 h 518826"/>
                  <a:gd name="connsiteX2" fmla="*/ 258307 w 361902"/>
                  <a:gd name="connsiteY2" fmla="*/ 472795 h 518826"/>
                  <a:gd name="connsiteX3" fmla="*/ 109391 w 361902"/>
                  <a:gd name="connsiteY3" fmla="*/ 498039 h 518826"/>
                  <a:gd name="connsiteX4" fmla="*/ 0 w 361902"/>
                  <a:gd name="connsiteY4" fmla="*/ 149137 h 518826"/>
                  <a:gd name="connsiteX0" fmla="*/ 0 w 361902"/>
                  <a:gd name="connsiteY0" fmla="*/ 139280 h 508969"/>
                  <a:gd name="connsiteX1" fmla="*/ 353673 w 361902"/>
                  <a:gd name="connsiteY1" fmla="*/ 119645 h 508969"/>
                  <a:gd name="connsiteX2" fmla="*/ 258307 w 361902"/>
                  <a:gd name="connsiteY2" fmla="*/ 462938 h 508969"/>
                  <a:gd name="connsiteX3" fmla="*/ 109391 w 361902"/>
                  <a:gd name="connsiteY3" fmla="*/ 488182 h 508969"/>
                  <a:gd name="connsiteX4" fmla="*/ 0 w 361902"/>
                  <a:gd name="connsiteY4" fmla="*/ 139280 h 508969"/>
                  <a:gd name="connsiteX0" fmla="*/ 0 w 361902"/>
                  <a:gd name="connsiteY0" fmla="*/ 150807 h 520496"/>
                  <a:gd name="connsiteX1" fmla="*/ 353673 w 361902"/>
                  <a:gd name="connsiteY1" fmla="*/ 131172 h 520496"/>
                  <a:gd name="connsiteX2" fmla="*/ 258307 w 361902"/>
                  <a:gd name="connsiteY2" fmla="*/ 474465 h 520496"/>
                  <a:gd name="connsiteX3" fmla="*/ 109391 w 361902"/>
                  <a:gd name="connsiteY3" fmla="*/ 499709 h 520496"/>
                  <a:gd name="connsiteX4" fmla="*/ 0 w 361902"/>
                  <a:gd name="connsiteY4" fmla="*/ 150807 h 520496"/>
                  <a:gd name="connsiteX0" fmla="*/ 0 w 364707"/>
                  <a:gd name="connsiteY0" fmla="*/ 153718 h 517797"/>
                  <a:gd name="connsiteX1" fmla="*/ 356478 w 364707"/>
                  <a:gd name="connsiteY1" fmla="*/ 128473 h 517797"/>
                  <a:gd name="connsiteX2" fmla="*/ 261112 w 364707"/>
                  <a:gd name="connsiteY2" fmla="*/ 471766 h 517797"/>
                  <a:gd name="connsiteX3" fmla="*/ 112196 w 364707"/>
                  <a:gd name="connsiteY3" fmla="*/ 497010 h 517797"/>
                  <a:gd name="connsiteX4" fmla="*/ 0 w 364707"/>
                  <a:gd name="connsiteY4" fmla="*/ 153718 h 517797"/>
                  <a:gd name="connsiteX0" fmla="*/ 0 w 364707"/>
                  <a:gd name="connsiteY0" fmla="*/ 152703 h 516782"/>
                  <a:gd name="connsiteX1" fmla="*/ 356478 w 364707"/>
                  <a:gd name="connsiteY1" fmla="*/ 127458 h 516782"/>
                  <a:gd name="connsiteX2" fmla="*/ 261112 w 364707"/>
                  <a:gd name="connsiteY2" fmla="*/ 470751 h 516782"/>
                  <a:gd name="connsiteX3" fmla="*/ 112196 w 364707"/>
                  <a:gd name="connsiteY3" fmla="*/ 495995 h 516782"/>
                  <a:gd name="connsiteX4" fmla="*/ 0 w 364707"/>
                  <a:gd name="connsiteY4" fmla="*/ 152703 h 516782"/>
                  <a:gd name="connsiteX0" fmla="*/ 2543 w 367250"/>
                  <a:gd name="connsiteY0" fmla="*/ 152703 h 516782"/>
                  <a:gd name="connsiteX1" fmla="*/ 359021 w 367250"/>
                  <a:gd name="connsiteY1" fmla="*/ 127458 h 516782"/>
                  <a:gd name="connsiteX2" fmla="*/ 263655 w 367250"/>
                  <a:gd name="connsiteY2" fmla="*/ 470751 h 516782"/>
                  <a:gd name="connsiteX3" fmla="*/ 114739 w 367250"/>
                  <a:gd name="connsiteY3" fmla="*/ 495995 h 516782"/>
                  <a:gd name="connsiteX4" fmla="*/ 2543 w 367250"/>
                  <a:gd name="connsiteY4" fmla="*/ 152703 h 516782"/>
                  <a:gd name="connsiteX0" fmla="*/ 2793 w 367500"/>
                  <a:gd name="connsiteY0" fmla="*/ 152703 h 507611"/>
                  <a:gd name="connsiteX1" fmla="*/ 359271 w 367500"/>
                  <a:gd name="connsiteY1" fmla="*/ 127458 h 507611"/>
                  <a:gd name="connsiteX2" fmla="*/ 263905 w 367500"/>
                  <a:gd name="connsiteY2" fmla="*/ 470751 h 507611"/>
                  <a:gd name="connsiteX3" fmla="*/ 109379 w 367500"/>
                  <a:gd name="connsiteY3" fmla="*/ 479165 h 507611"/>
                  <a:gd name="connsiteX4" fmla="*/ 2793 w 367500"/>
                  <a:gd name="connsiteY4" fmla="*/ 152703 h 507611"/>
                  <a:gd name="connsiteX0" fmla="*/ 2348 w 367055"/>
                  <a:gd name="connsiteY0" fmla="*/ 152703 h 507611"/>
                  <a:gd name="connsiteX1" fmla="*/ 358826 w 367055"/>
                  <a:gd name="connsiteY1" fmla="*/ 127458 h 507611"/>
                  <a:gd name="connsiteX2" fmla="*/ 263460 w 367055"/>
                  <a:gd name="connsiteY2" fmla="*/ 470751 h 507611"/>
                  <a:gd name="connsiteX3" fmla="*/ 108934 w 367055"/>
                  <a:gd name="connsiteY3" fmla="*/ 479165 h 507611"/>
                  <a:gd name="connsiteX4" fmla="*/ 2348 w 367055"/>
                  <a:gd name="connsiteY4" fmla="*/ 152703 h 507611"/>
                  <a:gd name="connsiteX0" fmla="*/ 2451 w 367158"/>
                  <a:gd name="connsiteY0" fmla="*/ 152703 h 507611"/>
                  <a:gd name="connsiteX1" fmla="*/ 358929 w 367158"/>
                  <a:gd name="connsiteY1" fmla="*/ 127458 h 507611"/>
                  <a:gd name="connsiteX2" fmla="*/ 263563 w 367158"/>
                  <a:gd name="connsiteY2" fmla="*/ 470751 h 507611"/>
                  <a:gd name="connsiteX3" fmla="*/ 106233 w 367158"/>
                  <a:gd name="connsiteY3" fmla="*/ 479165 h 507611"/>
                  <a:gd name="connsiteX4" fmla="*/ 2451 w 367158"/>
                  <a:gd name="connsiteY4" fmla="*/ 152703 h 507611"/>
                  <a:gd name="connsiteX0" fmla="*/ 2451 w 367158"/>
                  <a:gd name="connsiteY0" fmla="*/ 152703 h 505628"/>
                  <a:gd name="connsiteX1" fmla="*/ 358929 w 367158"/>
                  <a:gd name="connsiteY1" fmla="*/ 127458 h 505628"/>
                  <a:gd name="connsiteX2" fmla="*/ 263563 w 367158"/>
                  <a:gd name="connsiteY2" fmla="*/ 470751 h 505628"/>
                  <a:gd name="connsiteX3" fmla="*/ 106233 w 367158"/>
                  <a:gd name="connsiteY3" fmla="*/ 479165 h 505628"/>
                  <a:gd name="connsiteX4" fmla="*/ 2451 w 367158"/>
                  <a:gd name="connsiteY4" fmla="*/ 152703 h 505628"/>
                  <a:gd name="connsiteX0" fmla="*/ 2451 w 367158"/>
                  <a:gd name="connsiteY0" fmla="*/ 152703 h 504512"/>
                  <a:gd name="connsiteX1" fmla="*/ 358929 w 367158"/>
                  <a:gd name="connsiteY1" fmla="*/ 127458 h 504512"/>
                  <a:gd name="connsiteX2" fmla="*/ 263563 w 367158"/>
                  <a:gd name="connsiteY2" fmla="*/ 470751 h 504512"/>
                  <a:gd name="connsiteX3" fmla="*/ 106233 w 367158"/>
                  <a:gd name="connsiteY3" fmla="*/ 479165 h 504512"/>
                  <a:gd name="connsiteX4" fmla="*/ 2451 w 367158"/>
                  <a:gd name="connsiteY4" fmla="*/ 152703 h 504512"/>
                  <a:gd name="connsiteX0" fmla="*/ 2558 w 367265"/>
                  <a:gd name="connsiteY0" fmla="*/ 152703 h 504512"/>
                  <a:gd name="connsiteX1" fmla="*/ 359036 w 367265"/>
                  <a:gd name="connsiteY1" fmla="*/ 127458 h 504512"/>
                  <a:gd name="connsiteX2" fmla="*/ 263670 w 367265"/>
                  <a:gd name="connsiteY2" fmla="*/ 470751 h 504512"/>
                  <a:gd name="connsiteX3" fmla="*/ 106340 w 367265"/>
                  <a:gd name="connsiteY3" fmla="*/ 479165 h 504512"/>
                  <a:gd name="connsiteX4" fmla="*/ 2558 w 367265"/>
                  <a:gd name="connsiteY4" fmla="*/ 152703 h 504512"/>
                  <a:gd name="connsiteX0" fmla="*/ 2018 w 366725"/>
                  <a:gd name="connsiteY0" fmla="*/ 152703 h 504512"/>
                  <a:gd name="connsiteX1" fmla="*/ 358496 w 366725"/>
                  <a:gd name="connsiteY1" fmla="*/ 127458 h 504512"/>
                  <a:gd name="connsiteX2" fmla="*/ 263130 w 366725"/>
                  <a:gd name="connsiteY2" fmla="*/ 470751 h 504512"/>
                  <a:gd name="connsiteX3" fmla="*/ 105800 w 366725"/>
                  <a:gd name="connsiteY3" fmla="*/ 479165 h 504512"/>
                  <a:gd name="connsiteX4" fmla="*/ 2018 w 366725"/>
                  <a:gd name="connsiteY4" fmla="*/ 152703 h 504512"/>
                  <a:gd name="connsiteX0" fmla="*/ 2018 w 366725"/>
                  <a:gd name="connsiteY0" fmla="*/ 152703 h 504512"/>
                  <a:gd name="connsiteX1" fmla="*/ 358496 w 366725"/>
                  <a:gd name="connsiteY1" fmla="*/ 127458 h 504512"/>
                  <a:gd name="connsiteX2" fmla="*/ 263130 w 366725"/>
                  <a:gd name="connsiteY2" fmla="*/ 470751 h 504512"/>
                  <a:gd name="connsiteX3" fmla="*/ 105800 w 366725"/>
                  <a:gd name="connsiteY3" fmla="*/ 479165 h 504512"/>
                  <a:gd name="connsiteX4" fmla="*/ 2018 w 366725"/>
                  <a:gd name="connsiteY4" fmla="*/ 152703 h 504512"/>
                  <a:gd name="connsiteX0" fmla="*/ 2018 w 367498"/>
                  <a:gd name="connsiteY0" fmla="*/ 152703 h 506072"/>
                  <a:gd name="connsiteX1" fmla="*/ 358496 w 367498"/>
                  <a:gd name="connsiteY1" fmla="*/ 127458 h 506072"/>
                  <a:gd name="connsiteX2" fmla="*/ 271544 w 367498"/>
                  <a:gd name="connsiteY2" fmla="*/ 473556 h 506072"/>
                  <a:gd name="connsiteX3" fmla="*/ 105800 w 367498"/>
                  <a:gd name="connsiteY3" fmla="*/ 479165 h 506072"/>
                  <a:gd name="connsiteX4" fmla="*/ 2018 w 367498"/>
                  <a:gd name="connsiteY4" fmla="*/ 152703 h 506072"/>
                  <a:gd name="connsiteX0" fmla="*/ 2018 w 367004"/>
                  <a:gd name="connsiteY0" fmla="*/ 152703 h 506072"/>
                  <a:gd name="connsiteX1" fmla="*/ 358496 w 367004"/>
                  <a:gd name="connsiteY1" fmla="*/ 127458 h 506072"/>
                  <a:gd name="connsiteX2" fmla="*/ 271544 w 367004"/>
                  <a:gd name="connsiteY2" fmla="*/ 473556 h 506072"/>
                  <a:gd name="connsiteX3" fmla="*/ 105800 w 367004"/>
                  <a:gd name="connsiteY3" fmla="*/ 479165 h 506072"/>
                  <a:gd name="connsiteX4" fmla="*/ 2018 w 367004"/>
                  <a:gd name="connsiteY4" fmla="*/ 152703 h 506072"/>
                  <a:gd name="connsiteX0" fmla="*/ 2018 w 367004"/>
                  <a:gd name="connsiteY0" fmla="*/ 152703 h 508676"/>
                  <a:gd name="connsiteX1" fmla="*/ 358496 w 367004"/>
                  <a:gd name="connsiteY1" fmla="*/ 127458 h 508676"/>
                  <a:gd name="connsiteX2" fmla="*/ 271544 w 367004"/>
                  <a:gd name="connsiteY2" fmla="*/ 473556 h 508676"/>
                  <a:gd name="connsiteX3" fmla="*/ 105800 w 367004"/>
                  <a:gd name="connsiteY3" fmla="*/ 479165 h 508676"/>
                  <a:gd name="connsiteX4" fmla="*/ 2018 w 367004"/>
                  <a:gd name="connsiteY4" fmla="*/ 152703 h 508676"/>
                  <a:gd name="connsiteX0" fmla="*/ 2564 w 367550"/>
                  <a:gd name="connsiteY0" fmla="*/ 152703 h 508676"/>
                  <a:gd name="connsiteX1" fmla="*/ 359042 w 367550"/>
                  <a:gd name="connsiteY1" fmla="*/ 127458 h 508676"/>
                  <a:gd name="connsiteX2" fmla="*/ 272090 w 367550"/>
                  <a:gd name="connsiteY2" fmla="*/ 473556 h 508676"/>
                  <a:gd name="connsiteX3" fmla="*/ 106346 w 367550"/>
                  <a:gd name="connsiteY3" fmla="*/ 479165 h 508676"/>
                  <a:gd name="connsiteX4" fmla="*/ 2564 w 367550"/>
                  <a:gd name="connsiteY4" fmla="*/ 152703 h 508676"/>
                  <a:gd name="connsiteX0" fmla="*/ 2564 w 367550"/>
                  <a:gd name="connsiteY0" fmla="*/ 152703 h 506923"/>
                  <a:gd name="connsiteX1" fmla="*/ 359042 w 367550"/>
                  <a:gd name="connsiteY1" fmla="*/ 127458 h 506923"/>
                  <a:gd name="connsiteX2" fmla="*/ 272090 w 367550"/>
                  <a:gd name="connsiteY2" fmla="*/ 473556 h 506923"/>
                  <a:gd name="connsiteX3" fmla="*/ 106346 w 367550"/>
                  <a:gd name="connsiteY3" fmla="*/ 479165 h 506923"/>
                  <a:gd name="connsiteX4" fmla="*/ 2564 w 367550"/>
                  <a:gd name="connsiteY4" fmla="*/ 152703 h 506923"/>
                  <a:gd name="connsiteX0" fmla="*/ 2564 w 369367"/>
                  <a:gd name="connsiteY0" fmla="*/ 152703 h 506923"/>
                  <a:gd name="connsiteX1" fmla="*/ 359042 w 369367"/>
                  <a:gd name="connsiteY1" fmla="*/ 127458 h 506923"/>
                  <a:gd name="connsiteX2" fmla="*/ 272090 w 369367"/>
                  <a:gd name="connsiteY2" fmla="*/ 473556 h 506923"/>
                  <a:gd name="connsiteX3" fmla="*/ 106346 w 369367"/>
                  <a:gd name="connsiteY3" fmla="*/ 479165 h 506923"/>
                  <a:gd name="connsiteX4" fmla="*/ 2564 w 369367"/>
                  <a:gd name="connsiteY4" fmla="*/ 152703 h 50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367" h="506923">
                    <a:moveTo>
                      <a:pt x="2564" y="152703"/>
                    </a:moveTo>
                    <a:cubicBezTo>
                      <a:pt x="34438" y="-45510"/>
                      <a:pt x="299118" y="-47383"/>
                      <a:pt x="359042" y="127458"/>
                    </a:cubicBezTo>
                    <a:cubicBezTo>
                      <a:pt x="395680" y="264019"/>
                      <a:pt x="327253" y="421767"/>
                      <a:pt x="272090" y="473556"/>
                    </a:cubicBezTo>
                    <a:cubicBezTo>
                      <a:pt x="226192" y="525915"/>
                      <a:pt x="133372" y="507837"/>
                      <a:pt x="106346" y="479165"/>
                    </a:cubicBezTo>
                    <a:cubicBezTo>
                      <a:pt x="33274" y="429570"/>
                      <a:pt x="-11460" y="291443"/>
                      <a:pt x="2564" y="152703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" name="Freeform 178"/>
              <p:cNvSpPr/>
              <p:nvPr/>
            </p:nvSpPr>
            <p:spPr>
              <a:xfrm>
                <a:off x="5245245" y="2932068"/>
                <a:ext cx="137797" cy="111532"/>
              </a:xfrm>
              <a:custGeom>
                <a:avLst/>
                <a:gdLst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301839 w 2220650"/>
                  <a:gd name="connsiteY8" fmla="*/ 237328 h 1797379"/>
                  <a:gd name="connsiteX9" fmla="*/ 1329413 w 2220650"/>
                  <a:gd name="connsiteY9" fmla="*/ 304839 h 1797379"/>
                  <a:gd name="connsiteX10" fmla="*/ 1599180 w 2220650"/>
                  <a:gd name="connsiteY10" fmla="*/ 789375 h 1797379"/>
                  <a:gd name="connsiteX11" fmla="*/ 1701318 w 2220650"/>
                  <a:gd name="connsiteY11" fmla="*/ 849427 h 1797379"/>
                  <a:gd name="connsiteX12" fmla="*/ 2160043 w 2220650"/>
                  <a:gd name="connsiteY12" fmla="*/ 1111553 h 1797379"/>
                  <a:gd name="connsiteX13" fmla="*/ 2208425 w 2220650"/>
                  <a:gd name="connsiteY13" fmla="*/ 1261237 h 1797379"/>
                  <a:gd name="connsiteX14" fmla="*/ 2205104 w 2220650"/>
                  <a:gd name="connsiteY14" fmla="*/ 1267730 h 1797379"/>
                  <a:gd name="connsiteX15" fmla="*/ 2055421 w 2220650"/>
                  <a:gd name="connsiteY15" fmla="*/ 1316112 h 1797379"/>
                  <a:gd name="connsiteX16" fmla="*/ 1413298 w 2220650"/>
                  <a:gd name="connsiteY16" fmla="*/ 987697 h 1797379"/>
                  <a:gd name="connsiteX17" fmla="*/ 1359851 w 2220650"/>
                  <a:gd name="connsiteY17" fmla="*/ 941739 h 1797379"/>
                  <a:gd name="connsiteX18" fmla="*/ 1321426 w 2220650"/>
                  <a:gd name="connsiteY18" fmla="*/ 899153 h 1797379"/>
                  <a:gd name="connsiteX19" fmla="*/ 1404334 w 2220650"/>
                  <a:gd name="connsiteY19" fmla="*/ 1786499 h 1797379"/>
                  <a:gd name="connsiteX20" fmla="*/ 473257 w 2220650"/>
                  <a:gd name="connsiteY20" fmla="*/ 1797379 h 1797379"/>
                  <a:gd name="connsiteX21" fmla="*/ 491299 w 2220650"/>
                  <a:gd name="connsiteY21" fmla="*/ 1119375 h 1797379"/>
                  <a:gd name="connsiteX22" fmla="*/ 458022 w 2220650"/>
                  <a:gd name="connsiteY22" fmla="*/ 615484 h 1797379"/>
                  <a:gd name="connsiteX23" fmla="*/ 293128 w 2220650"/>
                  <a:gd name="connsiteY23" fmla="*/ 924571 h 1797379"/>
                  <a:gd name="connsiteX24" fmla="*/ 449319 w 2220650"/>
                  <a:gd name="connsiteY24" fmla="*/ 1615870 h 1797379"/>
                  <a:gd name="connsiteX25" fmla="*/ 378364 w 2220650"/>
                  <a:gd name="connsiteY25" fmla="*/ 1733837 h 1797379"/>
                  <a:gd name="connsiteX26" fmla="*/ 310090 w 2220650"/>
                  <a:gd name="connsiteY26" fmla="*/ 1750829 h 1797379"/>
                  <a:gd name="connsiteX27" fmla="*/ 192122 w 2220650"/>
                  <a:gd name="connsiteY27" fmla="*/ 1679875 h 1797379"/>
                  <a:gd name="connsiteX28" fmla="*/ 2904 w 2220650"/>
                  <a:gd name="connsiteY28" fmla="*/ 919508 h 1797379"/>
                  <a:gd name="connsiteX29" fmla="*/ 13947 w 2220650"/>
                  <a:gd name="connsiteY29" fmla="*/ 845829 h 1797379"/>
                  <a:gd name="connsiteX30" fmla="*/ 39863 w 2220650"/>
                  <a:gd name="connsiteY30" fmla="*/ 789457 h 1797379"/>
                  <a:gd name="connsiteX31" fmla="*/ 386519 w 2220650"/>
                  <a:gd name="connsiteY31" fmla="*/ 139659 h 1797379"/>
                  <a:gd name="connsiteX32" fmla="*/ 743545 w 2220650"/>
                  <a:gd name="connsiteY32" fmla="*/ 556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301839 w 2220650"/>
                  <a:gd name="connsiteY8" fmla="*/ 237328 h 1797379"/>
                  <a:gd name="connsiteX9" fmla="*/ 1599180 w 2220650"/>
                  <a:gd name="connsiteY9" fmla="*/ 789375 h 1797379"/>
                  <a:gd name="connsiteX10" fmla="*/ 1701318 w 2220650"/>
                  <a:gd name="connsiteY10" fmla="*/ 849427 h 1797379"/>
                  <a:gd name="connsiteX11" fmla="*/ 2160043 w 2220650"/>
                  <a:gd name="connsiteY11" fmla="*/ 1111553 h 1797379"/>
                  <a:gd name="connsiteX12" fmla="*/ 2208425 w 2220650"/>
                  <a:gd name="connsiteY12" fmla="*/ 1261237 h 1797379"/>
                  <a:gd name="connsiteX13" fmla="*/ 2205104 w 2220650"/>
                  <a:gd name="connsiteY13" fmla="*/ 1267730 h 1797379"/>
                  <a:gd name="connsiteX14" fmla="*/ 2055421 w 2220650"/>
                  <a:gd name="connsiteY14" fmla="*/ 1316112 h 1797379"/>
                  <a:gd name="connsiteX15" fmla="*/ 1413298 w 2220650"/>
                  <a:gd name="connsiteY15" fmla="*/ 987697 h 1797379"/>
                  <a:gd name="connsiteX16" fmla="*/ 1359851 w 2220650"/>
                  <a:gd name="connsiteY16" fmla="*/ 941739 h 1797379"/>
                  <a:gd name="connsiteX17" fmla="*/ 1321426 w 2220650"/>
                  <a:gd name="connsiteY17" fmla="*/ 899153 h 1797379"/>
                  <a:gd name="connsiteX18" fmla="*/ 1404334 w 2220650"/>
                  <a:gd name="connsiteY18" fmla="*/ 1786499 h 1797379"/>
                  <a:gd name="connsiteX19" fmla="*/ 473257 w 2220650"/>
                  <a:gd name="connsiteY19" fmla="*/ 1797379 h 1797379"/>
                  <a:gd name="connsiteX20" fmla="*/ 491299 w 2220650"/>
                  <a:gd name="connsiteY20" fmla="*/ 1119375 h 1797379"/>
                  <a:gd name="connsiteX21" fmla="*/ 458022 w 2220650"/>
                  <a:gd name="connsiteY21" fmla="*/ 615484 h 1797379"/>
                  <a:gd name="connsiteX22" fmla="*/ 293128 w 2220650"/>
                  <a:gd name="connsiteY22" fmla="*/ 924571 h 1797379"/>
                  <a:gd name="connsiteX23" fmla="*/ 449319 w 2220650"/>
                  <a:gd name="connsiteY23" fmla="*/ 1615870 h 1797379"/>
                  <a:gd name="connsiteX24" fmla="*/ 378364 w 2220650"/>
                  <a:gd name="connsiteY24" fmla="*/ 1733837 h 1797379"/>
                  <a:gd name="connsiteX25" fmla="*/ 310090 w 2220650"/>
                  <a:gd name="connsiteY25" fmla="*/ 1750829 h 1797379"/>
                  <a:gd name="connsiteX26" fmla="*/ 192122 w 2220650"/>
                  <a:gd name="connsiteY26" fmla="*/ 1679875 h 1797379"/>
                  <a:gd name="connsiteX27" fmla="*/ 2904 w 2220650"/>
                  <a:gd name="connsiteY27" fmla="*/ 919508 h 1797379"/>
                  <a:gd name="connsiteX28" fmla="*/ 13947 w 2220650"/>
                  <a:gd name="connsiteY28" fmla="*/ 845829 h 1797379"/>
                  <a:gd name="connsiteX29" fmla="*/ 39863 w 2220650"/>
                  <a:gd name="connsiteY29" fmla="*/ 789457 h 1797379"/>
                  <a:gd name="connsiteX30" fmla="*/ 386519 w 2220650"/>
                  <a:gd name="connsiteY30" fmla="*/ 139659 h 1797379"/>
                  <a:gd name="connsiteX31" fmla="*/ 743545 w 2220650"/>
                  <a:gd name="connsiteY31" fmla="*/ 556 h 1797379"/>
                  <a:gd name="connsiteX32" fmla="*/ 790694 w 2220650"/>
                  <a:gd name="connsiteY32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301839 w 2220650"/>
                  <a:gd name="connsiteY8" fmla="*/ 237328 h 1797379"/>
                  <a:gd name="connsiteX9" fmla="*/ 1599180 w 2220650"/>
                  <a:gd name="connsiteY9" fmla="*/ 789375 h 1797379"/>
                  <a:gd name="connsiteX10" fmla="*/ 1701318 w 2220650"/>
                  <a:gd name="connsiteY10" fmla="*/ 849427 h 1797379"/>
                  <a:gd name="connsiteX11" fmla="*/ 2160043 w 2220650"/>
                  <a:gd name="connsiteY11" fmla="*/ 1111553 h 1797379"/>
                  <a:gd name="connsiteX12" fmla="*/ 2208425 w 2220650"/>
                  <a:gd name="connsiteY12" fmla="*/ 1261237 h 1797379"/>
                  <a:gd name="connsiteX13" fmla="*/ 2205104 w 2220650"/>
                  <a:gd name="connsiteY13" fmla="*/ 1267730 h 1797379"/>
                  <a:gd name="connsiteX14" fmla="*/ 2055421 w 2220650"/>
                  <a:gd name="connsiteY14" fmla="*/ 1316112 h 1797379"/>
                  <a:gd name="connsiteX15" fmla="*/ 1413298 w 2220650"/>
                  <a:gd name="connsiteY15" fmla="*/ 987697 h 1797379"/>
                  <a:gd name="connsiteX16" fmla="*/ 1359851 w 2220650"/>
                  <a:gd name="connsiteY16" fmla="*/ 941739 h 1797379"/>
                  <a:gd name="connsiteX17" fmla="*/ 1321426 w 2220650"/>
                  <a:gd name="connsiteY17" fmla="*/ 899153 h 1797379"/>
                  <a:gd name="connsiteX18" fmla="*/ 1404334 w 2220650"/>
                  <a:gd name="connsiteY18" fmla="*/ 1786499 h 1797379"/>
                  <a:gd name="connsiteX19" fmla="*/ 473257 w 2220650"/>
                  <a:gd name="connsiteY19" fmla="*/ 1797379 h 1797379"/>
                  <a:gd name="connsiteX20" fmla="*/ 491299 w 2220650"/>
                  <a:gd name="connsiteY20" fmla="*/ 1119375 h 1797379"/>
                  <a:gd name="connsiteX21" fmla="*/ 458022 w 2220650"/>
                  <a:gd name="connsiteY21" fmla="*/ 615484 h 1797379"/>
                  <a:gd name="connsiteX22" fmla="*/ 293128 w 2220650"/>
                  <a:gd name="connsiteY22" fmla="*/ 924571 h 1797379"/>
                  <a:gd name="connsiteX23" fmla="*/ 449319 w 2220650"/>
                  <a:gd name="connsiteY23" fmla="*/ 1615870 h 1797379"/>
                  <a:gd name="connsiteX24" fmla="*/ 378364 w 2220650"/>
                  <a:gd name="connsiteY24" fmla="*/ 1733837 h 1797379"/>
                  <a:gd name="connsiteX25" fmla="*/ 310090 w 2220650"/>
                  <a:gd name="connsiteY25" fmla="*/ 1750829 h 1797379"/>
                  <a:gd name="connsiteX26" fmla="*/ 192122 w 2220650"/>
                  <a:gd name="connsiteY26" fmla="*/ 1679875 h 1797379"/>
                  <a:gd name="connsiteX27" fmla="*/ 2904 w 2220650"/>
                  <a:gd name="connsiteY27" fmla="*/ 919508 h 1797379"/>
                  <a:gd name="connsiteX28" fmla="*/ 13947 w 2220650"/>
                  <a:gd name="connsiteY28" fmla="*/ 845829 h 1797379"/>
                  <a:gd name="connsiteX29" fmla="*/ 39863 w 2220650"/>
                  <a:gd name="connsiteY29" fmla="*/ 789457 h 1797379"/>
                  <a:gd name="connsiteX30" fmla="*/ 386519 w 2220650"/>
                  <a:gd name="connsiteY30" fmla="*/ 139659 h 1797379"/>
                  <a:gd name="connsiteX31" fmla="*/ 743545 w 2220650"/>
                  <a:gd name="connsiteY31" fmla="*/ 556 h 1797379"/>
                  <a:gd name="connsiteX32" fmla="*/ 790694 w 2220650"/>
                  <a:gd name="connsiteY32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301839 w 2220650"/>
                  <a:gd name="connsiteY8" fmla="*/ 237328 h 1797379"/>
                  <a:gd name="connsiteX9" fmla="*/ 1599180 w 2220650"/>
                  <a:gd name="connsiteY9" fmla="*/ 789375 h 1797379"/>
                  <a:gd name="connsiteX10" fmla="*/ 1701318 w 2220650"/>
                  <a:gd name="connsiteY10" fmla="*/ 849427 h 1797379"/>
                  <a:gd name="connsiteX11" fmla="*/ 2160043 w 2220650"/>
                  <a:gd name="connsiteY11" fmla="*/ 1111553 h 1797379"/>
                  <a:gd name="connsiteX12" fmla="*/ 2208425 w 2220650"/>
                  <a:gd name="connsiteY12" fmla="*/ 1261237 h 1797379"/>
                  <a:gd name="connsiteX13" fmla="*/ 2205104 w 2220650"/>
                  <a:gd name="connsiteY13" fmla="*/ 1267730 h 1797379"/>
                  <a:gd name="connsiteX14" fmla="*/ 2055421 w 2220650"/>
                  <a:gd name="connsiteY14" fmla="*/ 1316112 h 1797379"/>
                  <a:gd name="connsiteX15" fmla="*/ 1413298 w 2220650"/>
                  <a:gd name="connsiteY15" fmla="*/ 987697 h 1797379"/>
                  <a:gd name="connsiteX16" fmla="*/ 1359851 w 2220650"/>
                  <a:gd name="connsiteY16" fmla="*/ 941739 h 1797379"/>
                  <a:gd name="connsiteX17" fmla="*/ 1321426 w 2220650"/>
                  <a:gd name="connsiteY17" fmla="*/ 899153 h 1797379"/>
                  <a:gd name="connsiteX18" fmla="*/ 1404334 w 2220650"/>
                  <a:gd name="connsiteY18" fmla="*/ 1786499 h 1797379"/>
                  <a:gd name="connsiteX19" fmla="*/ 473257 w 2220650"/>
                  <a:gd name="connsiteY19" fmla="*/ 1797379 h 1797379"/>
                  <a:gd name="connsiteX20" fmla="*/ 491299 w 2220650"/>
                  <a:gd name="connsiteY20" fmla="*/ 1119375 h 1797379"/>
                  <a:gd name="connsiteX21" fmla="*/ 458022 w 2220650"/>
                  <a:gd name="connsiteY21" fmla="*/ 615484 h 1797379"/>
                  <a:gd name="connsiteX22" fmla="*/ 293128 w 2220650"/>
                  <a:gd name="connsiteY22" fmla="*/ 924571 h 1797379"/>
                  <a:gd name="connsiteX23" fmla="*/ 449319 w 2220650"/>
                  <a:gd name="connsiteY23" fmla="*/ 1615870 h 1797379"/>
                  <a:gd name="connsiteX24" fmla="*/ 378364 w 2220650"/>
                  <a:gd name="connsiteY24" fmla="*/ 1733837 h 1797379"/>
                  <a:gd name="connsiteX25" fmla="*/ 310090 w 2220650"/>
                  <a:gd name="connsiteY25" fmla="*/ 1750829 h 1797379"/>
                  <a:gd name="connsiteX26" fmla="*/ 192122 w 2220650"/>
                  <a:gd name="connsiteY26" fmla="*/ 1679875 h 1797379"/>
                  <a:gd name="connsiteX27" fmla="*/ 2904 w 2220650"/>
                  <a:gd name="connsiteY27" fmla="*/ 919508 h 1797379"/>
                  <a:gd name="connsiteX28" fmla="*/ 13947 w 2220650"/>
                  <a:gd name="connsiteY28" fmla="*/ 845829 h 1797379"/>
                  <a:gd name="connsiteX29" fmla="*/ 39863 w 2220650"/>
                  <a:gd name="connsiteY29" fmla="*/ 789457 h 1797379"/>
                  <a:gd name="connsiteX30" fmla="*/ 386519 w 2220650"/>
                  <a:gd name="connsiteY30" fmla="*/ 139659 h 1797379"/>
                  <a:gd name="connsiteX31" fmla="*/ 743545 w 2220650"/>
                  <a:gd name="connsiteY31" fmla="*/ 556 h 1797379"/>
                  <a:gd name="connsiteX32" fmla="*/ 790694 w 2220650"/>
                  <a:gd name="connsiteY32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01776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10430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10430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10430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  <a:gd name="connsiteX0" fmla="*/ 790694 w 2220650"/>
                  <a:gd name="connsiteY0" fmla="*/ 0 h 1797379"/>
                  <a:gd name="connsiteX1" fmla="*/ 861621 w 2220650"/>
                  <a:gd name="connsiteY1" fmla="*/ 285222 h 1797379"/>
                  <a:gd name="connsiteX2" fmla="*/ 1007580 w 2220650"/>
                  <a:gd name="connsiteY2" fmla="*/ 460627 h 1797379"/>
                  <a:gd name="connsiteX3" fmla="*/ 1092304 w 2220650"/>
                  <a:gd name="connsiteY3" fmla="*/ 245998 h 1797379"/>
                  <a:gd name="connsiteX4" fmla="*/ 1065655 w 2220650"/>
                  <a:gd name="connsiteY4" fmla="*/ 78086 h 1797379"/>
                  <a:gd name="connsiteX5" fmla="*/ 1052202 w 2220650"/>
                  <a:gd name="connsiteY5" fmla="*/ 4276 h 1797379"/>
                  <a:gd name="connsiteX6" fmla="*/ 1130087 w 2220650"/>
                  <a:gd name="connsiteY6" fmla="*/ 13588 h 1797379"/>
                  <a:gd name="connsiteX7" fmla="*/ 1310430 w 2220650"/>
                  <a:gd name="connsiteY7" fmla="*/ 234549 h 1797379"/>
                  <a:gd name="connsiteX8" fmla="*/ 1599180 w 2220650"/>
                  <a:gd name="connsiteY8" fmla="*/ 789375 h 1797379"/>
                  <a:gd name="connsiteX9" fmla="*/ 1701318 w 2220650"/>
                  <a:gd name="connsiteY9" fmla="*/ 849427 h 1797379"/>
                  <a:gd name="connsiteX10" fmla="*/ 2160043 w 2220650"/>
                  <a:gd name="connsiteY10" fmla="*/ 1111553 h 1797379"/>
                  <a:gd name="connsiteX11" fmla="*/ 2208425 w 2220650"/>
                  <a:gd name="connsiteY11" fmla="*/ 1261237 h 1797379"/>
                  <a:gd name="connsiteX12" fmla="*/ 2205104 w 2220650"/>
                  <a:gd name="connsiteY12" fmla="*/ 1267730 h 1797379"/>
                  <a:gd name="connsiteX13" fmla="*/ 2055421 w 2220650"/>
                  <a:gd name="connsiteY13" fmla="*/ 1316112 h 1797379"/>
                  <a:gd name="connsiteX14" fmla="*/ 1413298 w 2220650"/>
                  <a:gd name="connsiteY14" fmla="*/ 987697 h 1797379"/>
                  <a:gd name="connsiteX15" fmla="*/ 1359851 w 2220650"/>
                  <a:gd name="connsiteY15" fmla="*/ 941739 h 1797379"/>
                  <a:gd name="connsiteX16" fmla="*/ 1321426 w 2220650"/>
                  <a:gd name="connsiteY16" fmla="*/ 899153 h 1797379"/>
                  <a:gd name="connsiteX17" fmla="*/ 1404334 w 2220650"/>
                  <a:gd name="connsiteY17" fmla="*/ 1786499 h 1797379"/>
                  <a:gd name="connsiteX18" fmla="*/ 473257 w 2220650"/>
                  <a:gd name="connsiteY18" fmla="*/ 1797379 h 1797379"/>
                  <a:gd name="connsiteX19" fmla="*/ 491299 w 2220650"/>
                  <a:gd name="connsiteY19" fmla="*/ 1119375 h 1797379"/>
                  <a:gd name="connsiteX20" fmla="*/ 458022 w 2220650"/>
                  <a:gd name="connsiteY20" fmla="*/ 615484 h 1797379"/>
                  <a:gd name="connsiteX21" fmla="*/ 293128 w 2220650"/>
                  <a:gd name="connsiteY21" fmla="*/ 924571 h 1797379"/>
                  <a:gd name="connsiteX22" fmla="*/ 449319 w 2220650"/>
                  <a:gd name="connsiteY22" fmla="*/ 1615870 h 1797379"/>
                  <a:gd name="connsiteX23" fmla="*/ 378364 w 2220650"/>
                  <a:gd name="connsiteY23" fmla="*/ 1733837 h 1797379"/>
                  <a:gd name="connsiteX24" fmla="*/ 310090 w 2220650"/>
                  <a:gd name="connsiteY24" fmla="*/ 1750829 h 1797379"/>
                  <a:gd name="connsiteX25" fmla="*/ 192122 w 2220650"/>
                  <a:gd name="connsiteY25" fmla="*/ 1679875 h 1797379"/>
                  <a:gd name="connsiteX26" fmla="*/ 2904 w 2220650"/>
                  <a:gd name="connsiteY26" fmla="*/ 919508 h 1797379"/>
                  <a:gd name="connsiteX27" fmla="*/ 13947 w 2220650"/>
                  <a:gd name="connsiteY27" fmla="*/ 845829 h 1797379"/>
                  <a:gd name="connsiteX28" fmla="*/ 39863 w 2220650"/>
                  <a:gd name="connsiteY28" fmla="*/ 789457 h 1797379"/>
                  <a:gd name="connsiteX29" fmla="*/ 386519 w 2220650"/>
                  <a:gd name="connsiteY29" fmla="*/ 139659 h 1797379"/>
                  <a:gd name="connsiteX30" fmla="*/ 743545 w 2220650"/>
                  <a:gd name="connsiteY30" fmla="*/ 556 h 1797379"/>
                  <a:gd name="connsiteX31" fmla="*/ 790694 w 2220650"/>
                  <a:gd name="connsiteY31" fmla="*/ 0 h 179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220650" h="1797379">
                    <a:moveTo>
                      <a:pt x="790694" y="0"/>
                    </a:moveTo>
                    <a:lnTo>
                      <a:pt x="861621" y="285222"/>
                    </a:lnTo>
                    <a:lnTo>
                      <a:pt x="1007580" y="460627"/>
                    </a:lnTo>
                    <a:cubicBezTo>
                      <a:pt x="1050058" y="359702"/>
                      <a:pt x="1069906" y="328384"/>
                      <a:pt x="1092304" y="245998"/>
                    </a:cubicBezTo>
                    <a:cubicBezTo>
                      <a:pt x="1083087" y="178693"/>
                      <a:pt x="1075424" y="132545"/>
                      <a:pt x="1065655" y="78086"/>
                    </a:cubicBezTo>
                    <a:lnTo>
                      <a:pt x="1052202" y="4276"/>
                    </a:lnTo>
                    <a:lnTo>
                      <a:pt x="1130087" y="13588"/>
                    </a:lnTo>
                    <a:cubicBezTo>
                      <a:pt x="1236203" y="44175"/>
                      <a:pt x="1287032" y="168989"/>
                      <a:pt x="1310430" y="234549"/>
                    </a:cubicBezTo>
                    <a:cubicBezTo>
                      <a:pt x="1382843" y="404231"/>
                      <a:pt x="1529705" y="747471"/>
                      <a:pt x="1599180" y="789375"/>
                    </a:cubicBezTo>
                    <a:lnTo>
                      <a:pt x="1701318" y="849427"/>
                    </a:lnTo>
                    <a:cubicBezTo>
                      <a:pt x="1854226" y="936802"/>
                      <a:pt x="1997641" y="1028492"/>
                      <a:pt x="2160043" y="1111553"/>
                    </a:cubicBezTo>
                    <a:cubicBezTo>
                      <a:pt x="2214738" y="1139527"/>
                      <a:pt x="2236399" y="1206542"/>
                      <a:pt x="2208425" y="1261237"/>
                    </a:cubicBezTo>
                    <a:lnTo>
                      <a:pt x="2205104" y="1267730"/>
                    </a:lnTo>
                    <a:cubicBezTo>
                      <a:pt x="2177131" y="1322424"/>
                      <a:pt x="2110116" y="1344086"/>
                      <a:pt x="2055421" y="1316112"/>
                    </a:cubicBezTo>
                    <a:lnTo>
                      <a:pt x="1413298" y="987697"/>
                    </a:lnTo>
                    <a:cubicBezTo>
                      <a:pt x="1391911" y="975057"/>
                      <a:pt x="1375286" y="958844"/>
                      <a:pt x="1359851" y="941739"/>
                    </a:cubicBezTo>
                    <a:lnTo>
                      <a:pt x="1321426" y="899153"/>
                    </a:lnTo>
                    <a:cubicBezTo>
                      <a:pt x="1343293" y="1223780"/>
                      <a:pt x="1365159" y="1482064"/>
                      <a:pt x="1404334" y="1786499"/>
                    </a:cubicBezTo>
                    <a:cubicBezTo>
                      <a:pt x="1093065" y="1786499"/>
                      <a:pt x="784525" y="1797379"/>
                      <a:pt x="473257" y="1797379"/>
                    </a:cubicBezTo>
                    <a:cubicBezTo>
                      <a:pt x="474842" y="1578902"/>
                      <a:pt x="492921" y="1345822"/>
                      <a:pt x="491299" y="1119375"/>
                    </a:cubicBezTo>
                    <a:lnTo>
                      <a:pt x="458022" y="615484"/>
                    </a:lnTo>
                    <a:lnTo>
                      <a:pt x="293128" y="924571"/>
                    </a:lnTo>
                    <a:lnTo>
                      <a:pt x="449319" y="1615870"/>
                    </a:lnTo>
                    <a:cubicBezTo>
                      <a:pt x="462301" y="1668040"/>
                      <a:pt x="430534" y="1720857"/>
                      <a:pt x="378364" y="1733837"/>
                    </a:cubicBezTo>
                    <a:lnTo>
                      <a:pt x="310090" y="1750829"/>
                    </a:lnTo>
                    <a:cubicBezTo>
                      <a:pt x="257920" y="1763811"/>
                      <a:pt x="205104" y="1732044"/>
                      <a:pt x="192122" y="1679875"/>
                    </a:cubicBezTo>
                    <a:lnTo>
                      <a:pt x="2904" y="919508"/>
                    </a:lnTo>
                    <a:cubicBezTo>
                      <a:pt x="-3588" y="893424"/>
                      <a:pt x="1108" y="867177"/>
                      <a:pt x="13947" y="845829"/>
                    </a:cubicBezTo>
                    <a:lnTo>
                      <a:pt x="39863" y="789457"/>
                    </a:lnTo>
                    <a:lnTo>
                      <a:pt x="386519" y="139659"/>
                    </a:lnTo>
                    <a:cubicBezTo>
                      <a:pt x="488895" y="725"/>
                      <a:pt x="663135" y="4131"/>
                      <a:pt x="743545" y="556"/>
                    </a:cubicBezTo>
                    <a:lnTo>
                      <a:pt x="790694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" name="Rectangle 1"/>
              <p:cNvSpPr/>
              <p:nvPr/>
            </p:nvSpPr>
            <p:spPr>
              <a:xfrm rot="542390" flipH="1">
                <a:off x="5422316" y="2881317"/>
                <a:ext cx="33514" cy="44319"/>
              </a:xfrm>
              <a:custGeom>
                <a:avLst/>
                <a:gdLst>
                  <a:gd name="connsiteX0" fmla="*/ 0 w 665018"/>
                  <a:gd name="connsiteY0" fmla="*/ 0 h 522806"/>
                  <a:gd name="connsiteX1" fmla="*/ 665018 w 665018"/>
                  <a:gd name="connsiteY1" fmla="*/ 0 h 522806"/>
                  <a:gd name="connsiteX2" fmla="*/ 665018 w 665018"/>
                  <a:gd name="connsiteY2" fmla="*/ 522806 h 522806"/>
                  <a:gd name="connsiteX3" fmla="*/ 0 w 665018"/>
                  <a:gd name="connsiteY3" fmla="*/ 522806 h 522806"/>
                  <a:gd name="connsiteX4" fmla="*/ 0 w 665018"/>
                  <a:gd name="connsiteY4" fmla="*/ 0 h 522806"/>
                  <a:gd name="connsiteX0" fmla="*/ 0 w 665018"/>
                  <a:gd name="connsiteY0" fmla="*/ 0 h 522806"/>
                  <a:gd name="connsiteX1" fmla="*/ 665018 w 665018"/>
                  <a:gd name="connsiteY1" fmla="*/ 0 h 522806"/>
                  <a:gd name="connsiteX2" fmla="*/ 665018 w 665018"/>
                  <a:gd name="connsiteY2" fmla="*/ 522806 h 522806"/>
                  <a:gd name="connsiteX3" fmla="*/ 266466 w 665018"/>
                  <a:gd name="connsiteY3" fmla="*/ 505977 h 522806"/>
                  <a:gd name="connsiteX4" fmla="*/ 0 w 665018"/>
                  <a:gd name="connsiteY4" fmla="*/ 0 h 522806"/>
                  <a:gd name="connsiteX0" fmla="*/ 56099 w 398552"/>
                  <a:gd name="connsiteY0" fmla="*/ 159880 h 522806"/>
                  <a:gd name="connsiteX1" fmla="*/ 398552 w 398552"/>
                  <a:gd name="connsiteY1" fmla="*/ 0 h 522806"/>
                  <a:gd name="connsiteX2" fmla="*/ 398552 w 398552"/>
                  <a:gd name="connsiteY2" fmla="*/ 522806 h 522806"/>
                  <a:gd name="connsiteX3" fmla="*/ 0 w 398552"/>
                  <a:gd name="connsiteY3" fmla="*/ 505977 h 522806"/>
                  <a:gd name="connsiteX4" fmla="*/ 56099 w 398552"/>
                  <a:gd name="connsiteY4" fmla="*/ 159880 h 522806"/>
                  <a:gd name="connsiteX0" fmla="*/ 0 w 507943"/>
                  <a:gd name="connsiteY0" fmla="*/ 157075 h 522806"/>
                  <a:gd name="connsiteX1" fmla="*/ 507943 w 507943"/>
                  <a:gd name="connsiteY1" fmla="*/ 0 h 522806"/>
                  <a:gd name="connsiteX2" fmla="*/ 507943 w 507943"/>
                  <a:gd name="connsiteY2" fmla="*/ 522806 h 522806"/>
                  <a:gd name="connsiteX3" fmla="*/ 109391 w 507943"/>
                  <a:gd name="connsiteY3" fmla="*/ 505977 h 522806"/>
                  <a:gd name="connsiteX4" fmla="*/ 0 w 507943"/>
                  <a:gd name="connsiteY4" fmla="*/ 157075 h 522806"/>
                  <a:gd name="connsiteX0" fmla="*/ 0 w 507943"/>
                  <a:gd name="connsiteY0" fmla="*/ 157075 h 522806"/>
                  <a:gd name="connsiteX1" fmla="*/ 507943 w 507943"/>
                  <a:gd name="connsiteY1" fmla="*/ 0 h 522806"/>
                  <a:gd name="connsiteX2" fmla="*/ 507943 w 507943"/>
                  <a:gd name="connsiteY2" fmla="*/ 522806 h 522806"/>
                  <a:gd name="connsiteX3" fmla="*/ 109391 w 507943"/>
                  <a:gd name="connsiteY3" fmla="*/ 505977 h 522806"/>
                  <a:gd name="connsiteX4" fmla="*/ 0 w 507943"/>
                  <a:gd name="connsiteY4" fmla="*/ 157075 h 522806"/>
                  <a:gd name="connsiteX0" fmla="*/ 0 w 507943"/>
                  <a:gd name="connsiteY0" fmla="*/ 79373 h 445104"/>
                  <a:gd name="connsiteX1" fmla="*/ 216233 w 507943"/>
                  <a:gd name="connsiteY1" fmla="*/ 76568 h 445104"/>
                  <a:gd name="connsiteX2" fmla="*/ 507943 w 507943"/>
                  <a:gd name="connsiteY2" fmla="*/ 445104 h 445104"/>
                  <a:gd name="connsiteX3" fmla="*/ 109391 w 507943"/>
                  <a:gd name="connsiteY3" fmla="*/ 428275 h 445104"/>
                  <a:gd name="connsiteX4" fmla="*/ 0 w 507943"/>
                  <a:gd name="connsiteY4" fmla="*/ 79373 h 445104"/>
                  <a:gd name="connsiteX0" fmla="*/ 0 w 507943"/>
                  <a:gd name="connsiteY0" fmla="*/ 108291 h 474022"/>
                  <a:gd name="connsiteX1" fmla="*/ 216233 w 507943"/>
                  <a:gd name="connsiteY1" fmla="*/ 105486 h 474022"/>
                  <a:gd name="connsiteX2" fmla="*/ 507943 w 507943"/>
                  <a:gd name="connsiteY2" fmla="*/ 474022 h 474022"/>
                  <a:gd name="connsiteX3" fmla="*/ 109391 w 507943"/>
                  <a:gd name="connsiteY3" fmla="*/ 457193 h 474022"/>
                  <a:gd name="connsiteX4" fmla="*/ 0 w 507943"/>
                  <a:gd name="connsiteY4" fmla="*/ 108291 h 474022"/>
                  <a:gd name="connsiteX0" fmla="*/ 0 w 507943"/>
                  <a:gd name="connsiteY0" fmla="*/ 122543 h 488274"/>
                  <a:gd name="connsiteX1" fmla="*/ 353673 w 507943"/>
                  <a:gd name="connsiteY1" fmla="*/ 83274 h 488274"/>
                  <a:gd name="connsiteX2" fmla="*/ 507943 w 507943"/>
                  <a:gd name="connsiteY2" fmla="*/ 488274 h 488274"/>
                  <a:gd name="connsiteX3" fmla="*/ 109391 w 507943"/>
                  <a:gd name="connsiteY3" fmla="*/ 471445 h 488274"/>
                  <a:gd name="connsiteX4" fmla="*/ 0 w 507943"/>
                  <a:gd name="connsiteY4" fmla="*/ 122543 h 488274"/>
                  <a:gd name="connsiteX0" fmla="*/ 0 w 353673"/>
                  <a:gd name="connsiteY0" fmla="*/ 122543 h 471445"/>
                  <a:gd name="connsiteX1" fmla="*/ 353673 w 353673"/>
                  <a:gd name="connsiteY1" fmla="*/ 83274 h 471445"/>
                  <a:gd name="connsiteX2" fmla="*/ 176964 w 353673"/>
                  <a:gd name="connsiteY2" fmla="*/ 376078 h 471445"/>
                  <a:gd name="connsiteX3" fmla="*/ 109391 w 353673"/>
                  <a:gd name="connsiteY3" fmla="*/ 471445 h 471445"/>
                  <a:gd name="connsiteX4" fmla="*/ 0 w 353673"/>
                  <a:gd name="connsiteY4" fmla="*/ 122543 h 471445"/>
                  <a:gd name="connsiteX0" fmla="*/ 0 w 353673"/>
                  <a:gd name="connsiteY0" fmla="*/ 122543 h 471445"/>
                  <a:gd name="connsiteX1" fmla="*/ 353673 w 353673"/>
                  <a:gd name="connsiteY1" fmla="*/ 83274 h 471445"/>
                  <a:gd name="connsiteX2" fmla="*/ 272331 w 353673"/>
                  <a:gd name="connsiteY2" fmla="*/ 440591 h 471445"/>
                  <a:gd name="connsiteX3" fmla="*/ 109391 w 353673"/>
                  <a:gd name="connsiteY3" fmla="*/ 471445 h 471445"/>
                  <a:gd name="connsiteX4" fmla="*/ 0 w 353673"/>
                  <a:gd name="connsiteY4" fmla="*/ 122543 h 471445"/>
                  <a:gd name="connsiteX0" fmla="*/ 0 w 353673"/>
                  <a:gd name="connsiteY0" fmla="*/ 122543 h 472875"/>
                  <a:gd name="connsiteX1" fmla="*/ 353673 w 353673"/>
                  <a:gd name="connsiteY1" fmla="*/ 83274 h 472875"/>
                  <a:gd name="connsiteX2" fmla="*/ 272331 w 353673"/>
                  <a:gd name="connsiteY2" fmla="*/ 440591 h 472875"/>
                  <a:gd name="connsiteX3" fmla="*/ 109391 w 353673"/>
                  <a:gd name="connsiteY3" fmla="*/ 471445 h 472875"/>
                  <a:gd name="connsiteX4" fmla="*/ 0 w 353673"/>
                  <a:gd name="connsiteY4" fmla="*/ 122543 h 472875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2543 h 490221"/>
                  <a:gd name="connsiteX1" fmla="*/ 353673 w 353673"/>
                  <a:gd name="connsiteY1" fmla="*/ 83274 h 490221"/>
                  <a:gd name="connsiteX2" fmla="*/ 272331 w 353673"/>
                  <a:gd name="connsiteY2" fmla="*/ 440591 h 490221"/>
                  <a:gd name="connsiteX3" fmla="*/ 109391 w 353673"/>
                  <a:gd name="connsiteY3" fmla="*/ 471445 h 490221"/>
                  <a:gd name="connsiteX4" fmla="*/ 0 w 353673"/>
                  <a:gd name="connsiteY4" fmla="*/ 122543 h 490221"/>
                  <a:gd name="connsiteX0" fmla="*/ 0 w 353673"/>
                  <a:gd name="connsiteY0" fmla="*/ 128355 h 496033"/>
                  <a:gd name="connsiteX1" fmla="*/ 353673 w 353673"/>
                  <a:gd name="connsiteY1" fmla="*/ 89086 h 496033"/>
                  <a:gd name="connsiteX2" fmla="*/ 272331 w 353673"/>
                  <a:gd name="connsiteY2" fmla="*/ 446403 h 496033"/>
                  <a:gd name="connsiteX3" fmla="*/ 109391 w 353673"/>
                  <a:gd name="connsiteY3" fmla="*/ 477257 h 496033"/>
                  <a:gd name="connsiteX4" fmla="*/ 0 w 353673"/>
                  <a:gd name="connsiteY4" fmla="*/ 128355 h 496033"/>
                  <a:gd name="connsiteX0" fmla="*/ 0 w 355143"/>
                  <a:gd name="connsiteY0" fmla="*/ 128355 h 496033"/>
                  <a:gd name="connsiteX1" fmla="*/ 353673 w 355143"/>
                  <a:gd name="connsiteY1" fmla="*/ 89086 h 496033"/>
                  <a:gd name="connsiteX2" fmla="*/ 272331 w 355143"/>
                  <a:gd name="connsiteY2" fmla="*/ 446403 h 496033"/>
                  <a:gd name="connsiteX3" fmla="*/ 109391 w 355143"/>
                  <a:gd name="connsiteY3" fmla="*/ 477257 h 496033"/>
                  <a:gd name="connsiteX4" fmla="*/ 0 w 355143"/>
                  <a:gd name="connsiteY4" fmla="*/ 128355 h 496033"/>
                  <a:gd name="connsiteX0" fmla="*/ 0 w 355930"/>
                  <a:gd name="connsiteY0" fmla="*/ 128355 h 496033"/>
                  <a:gd name="connsiteX1" fmla="*/ 353673 w 355930"/>
                  <a:gd name="connsiteY1" fmla="*/ 89086 h 496033"/>
                  <a:gd name="connsiteX2" fmla="*/ 272331 w 355930"/>
                  <a:gd name="connsiteY2" fmla="*/ 446403 h 496033"/>
                  <a:gd name="connsiteX3" fmla="*/ 109391 w 355930"/>
                  <a:gd name="connsiteY3" fmla="*/ 477257 h 496033"/>
                  <a:gd name="connsiteX4" fmla="*/ 0 w 355930"/>
                  <a:gd name="connsiteY4" fmla="*/ 128355 h 496033"/>
                  <a:gd name="connsiteX0" fmla="*/ 0 w 356185"/>
                  <a:gd name="connsiteY0" fmla="*/ 128355 h 496033"/>
                  <a:gd name="connsiteX1" fmla="*/ 353673 w 356185"/>
                  <a:gd name="connsiteY1" fmla="*/ 89086 h 496033"/>
                  <a:gd name="connsiteX2" fmla="*/ 272331 w 356185"/>
                  <a:gd name="connsiteY2" fmla="*/ 446403 h 496033"/>
                  <a:gd name="connsiteX3" fmla="*/ 109391 w 356185"/>
                  <a:gd name="connsiteY3" fmla="*/ 477257 h 496033"/>
                  <a:gd name="connsiteX4" fmla="*/ 0 w 356185"/>
                  <a:gd name="connsiteY4" fmla="*/ 128355 h 496033"/>
                  <a:gd name="connsiteX0" fmla="*/ 0 w 355606"/>
                  <a:gd name="connsiteY0" fmla="*/ 128355 h 498044"/>
                  <a:gd name="connsiteX1" fmla="*/ 353673 w 355606"/>
                  <a:gd name="connsiteY1" fmla="*/ 89086 h 498044"/>
                  <a:gd name="connsiteX2" fmla="*/ 258307 w 355606"/>
                  <a:gd name="connsiteY2" fmla="*/ 452013 h 498044"/>
                  <a:gd name="connsiteX3" fmla="*/ 109391 w 355606"/>
                  <a:gd name="connsiteY3" fmla="*/ 477257 h 498044"/>
                  <a:gd name="connsiteX4" fmla="*/ 0 w 355606"/>
                  <a:gd name="connsiteY4" fmla="*/ 128355 h 498044"/>
                  <a:gd name="connsiteX0" fmla="*/ 0 w 355606"/>
                  <a:gd name="connsiteY0" fmla="*/ 128355 h 498044"/>
                  <a:gd name="connsiteX1" fmla="*/ 353673 w 355606"/>
                  <a:gd name="connsiteY1" fmla="*/ 89086 h 498044"/>
                  <a:gd name="connsiteX2" fmla="*/ 258307 w 355606"/>
                  <a:gd name="connsiteY2" fmla="*/ 452013 h 498044"/>
                  <a:gd name="connsiteX3" fmla="*/ 109391 w 355606"/>
                  <a:gd name="connsiteY3" fmla="*/ 477257 h 498044"/>
                  <a:gd name="connsiteX4" fmla="*/ 0 w 355606"/>
                  <a:gd name="connsiteY4" fmla="*/ 128355 h 498044"/>
                  <a:gd name="connsiteX0" fmla="*/ 0 w 361902"/>
                  <a:gd name="connsiteY0" fmla="*/ 128355 h 498044"/>
                  <a:gd name="connsiteX1" fmla="*/ 353673 w 361902"/>
                  <a:gd name="connsiteY1" fmla="*/ 89086 h 498044"/>
                  <a:gd name="connsiteX2" fmla="*/ 258307 w 361902"/>
                  <a:gd name="connsiteY2" fmla="*/ 452013 h 498044"/>
                  <a:gd name="connsiteX3" fmla="*/ 109391 w 361902"/>
                  <a:gd name="connsiteY3" fmla="*/ 477257 h 498044"/>
                  <a:gd name="connsiteX4" fmla="*/ 0 w 361902"/>
                  <a:gd name="connsiteY4" fmla="*/ 128355 h 498044"/>
                  <a:gd name="connsiteX0" fmla="*/ 0 w 361902"/>
                  <a:gd name="connsiteY0" fmla="*/ 149137 h 518826"/>
                  <a:gd name="connsiteX1" fmla="*/ 353673 w 361902"/>
                  <a:gd name="connsiteY1" fmla="*/ 109868 h 518826"/>
                  <a:gd name="connsiteX2" fmla="*/ 258307 w 361902"/>
                  <a:gd name="connsiteY2" fmla="*/ 472795 h 518826"/>
                  <a:gd name="connsiteX3" fmla="*/ 109391 w 361902"/>
                  <a:gd name="connsiteY3" fmla="*/ 498039 h 518826"/>
                  <a:gd name="connsiteX4" fmla="*/ 0 w 361902"/>
                  <a:gd name="connsiteY4" fmla="*/ 149137 h 518826"/>
                  <a:gd name="connsiteX0" fmla="*/ 0 w 361902"/>
                  <a:gd name="connsiteY0" fmla="*/ 139280 h 508969"/>
                  <a:gd name="connsiteX1" fmla="*/ 353673 w 361902"/>
                  <a:gd name="connsiteY1" fmla="*/ 119645 h 508969"/>
                  <a:gd name="connsiteX2" fmla="*/ 258307 w 361902"/>
                  <a:gd name="connsiteY2" fmla="*/ 462938 h 508969"/>
                  <a:gd name="connsiteX3" fmla="*/ 109391 w 361902"/>
                  <a:gd name="connsiteY3" fmla="*/ 488182 h 508969"/>
                  <a:gd name="connsiteX4" fmla="*/ 0 w 361902"/>
                  <a:gd name="connsiteY4" fmla="*/ 139280 h 508969"/>
                  <a:gd name="connsiteX0" fmla="*/ 0 w 361902"/>
                  <a:gd name="connsiteY0" fmla="*/ 150807 h 520496"/>
                  <a:gd name="connsiteX1" fmla="*/ 353673 w 361902"/>
                  <a:gd name="connsiteY1" fmla="*/ 131172 h 520496"/>
                  <a:gd name="connsiteX2" fmla="*/ 258307 w 361902"/>
                  <a:gd name="connsiteY2" fmla="*/ 474465 h 520496"/>
                  <a:gd name="connsiteX3" fmla="*/ 109391 w 361902"/>
                  <a:gd name="connsiteY3" fmla="*/ 499709 h 520496"/>
                  <a:gd name="connsiteX4" fmla="*/ 0 w 361902"/>
                  <a:gd name="connsiteY4" fmla="*/ 150807 h 520496"/>
                  <a:gd name="connsiteX0" fmla="*/ 0 w 364707"/>
                  <a:gd name="connsiteY0" fmla="*/ 153718 h 517797"/>
                  <a:gd name="connsiteX1" fmla="*/ 356478 w 364707"/>
                  <a:gd name="connsiteY1" fmla="*/ 128473 h 517797"/>
                  <a:gd name="connsiteX2" fmla="*/ 261112 w 364707"/>
                  <a:gd name="connsiteY2" fmla="*/ 471766 h 517797"/>
                  <a:gd name="connsiteX3" fmla="*/ 112196 w 364707"/>
                  <a:gd name="connsiteY3" fmla="*/ 497010 h 517797"/>
                  <a:gd name="connsiteX4" fmla="*/ 0 w 364707"/>
                  <a:gd name="connsiteY4" fmla="*/ 153718 h 517797"/>
                  <a:gd name="connsiteX0" fmla="*/ 0 w 364707"/>
                  <a:gd name="connsiteY0" fmla="*/ 152703 h 516782"/>
                  <a:gd name="connsiteX1" fmla="*/ 356478 w 364707"/>
                  <a:gd name="connsiteY1" fmla="*/ 127458 h 516782"/>
                  <a:gd name="connsiteX2" fmla="*/ 261112 w 364707"/>
                  <a:gd name="connsiteY2" fmla="*/ 470751 h 516782"/>
                  <a:gd name="connsiteX3" fmla="*/ 112196 w 364707"/>
                  <a:gd name="connsiteY3" fmla="*/ 495995 h 516782"/>
                  <a:gd name="connsiteX4" fmla="*/ 0 w 364707"/>
                  <a:gd name="connsiteY4" fmla="*/ 152703 h 516782"/>
                  <a:gd name="connsiteX0" fmla="*/ 2543 w 367250"/>
                  <a:gd name="connsiteY0" fmla="*/ 152703 h 516782"/>
                  <a:gd name="connsiteX1" fmla="*/ 359021 w 367250"/>
                  <a:gd name="connsiteY1" fmla="*/ 127458 h 516782"/>
                  <a:gd name="connsiteX2" fmla="*/ 263655 w 367250"/>
                  <a:gd name="connsiteY2" fmla="*/ 470751 h 516782"/>
                  <a:gd name="connsiteX3" fmla="*/ 114739 w 367250"/>
                  <a:gd name="connsiteY3" fmla="*/ 495995 h 516782"/>
                  <a:gd name="connsiteX4" fmla="*/ 2543 w 367250"/>
                  <a:gd name="connsiteY4" fmla="*/ 152703 h 516782"/>
                  <a:gd name="connsiteX0" fmla="*/ 2793 w 367500"/>
                  <a:gd name="connsiteY0" fmla="*/ 152703 h 507611"/>
                  <a:gd name="connsiteX1" fmla="*/ 359271 w 367500"/>
                  <a:gd name="connsiteY1" fmla="*/ 127458 h 507611"/>
                  <a:gd name="connsiteX2" fmla="*/ 263905 w 367500"/>
                  <a:gd name="connsiteY2" fmla="*/ 470751 h 507611"/>
                  <a:gd name="connsiteX3" fmla="*/ 109379 w 367500"/>
                  <a:gd name="connsiteY3" fmla="*/ 479165 h 507611"/>
                  <a:gd name="connsiteX4" fmla="*/ 2793 w 367500"/>
                  <a:gd name="connsiteY4" fmla="*/ 152703 h 507611"/>
                  <a:gd name="connsiteX0" fmla="*/ 2348 w 367055"/>
                  <a:gd name="connsiteY0" fmla="*/ 152703 h 507611"/>
                  <a:gd name="connsiteX1" fmla="*/ 358826 w 367055"/>
                  <a:gd name="connsiteY1" fmla="*/ 127458 h 507611"/>
                  <a:gd name="connsiteX2" fmla="*/ 263460 w 367055"/>
                  <a:gd name="connsiteY2" fmla="*/ 470751 h 507611"/>
                  <a:gd name="connsiteX3" fmla="*/ 108934 w 367055"/>
                  <a:gd name="connsiteY3" fmla="*/ 479165 h 507611"/>
                  <a:gd name="connsiteX4" fmla="*/ 2348 w 367055"/>
                  <a:gd name="connsiteY4" fmla="*/ 152703 h 507611"/>
                  <a:gd name="connsiteX0" fmla="*/ 2451 w 367158"/>
                  <a:gd name="connsiteY0" fmla="*/ 152703 h 507611"/>
                  <a:gd name="connsiteX1" fmla="*/ 358929 w 367158"/>
                  <a:gd name="connsiteY1" fmla="*/ 127458 h 507611"/>
                  <a:gd name="connsiteX2" fmla="*/ 263563 w 367158"/>
                  <a:gd name="connsiteY2" fmla="*/ 470751 h 507611"/>
                  <a:gd name="connsiteX3" fmla="*/ 106233 w 367158"/>
                  <a:gd name="connsiteY3" fmla="*/ 479165 h 507611"/>
                  <a:gd name="connsiteX4" fmla="*/ 2451 w 367158"/>
                  <a:gd name="connsiteY4" fmla="*/ 152703 h 507611"/>
                  <a:gd name="connsiteX0" fmla="*/ 2451 w 367158"/>
                  <a:gd name="connsiteY0" fmla="*/ 152703 h 505628"/>
                  <a:gd name="connsiteX1" fmla="*/ 358929 w 367158"/>
                  <a:gd name="connsiteY1" fmla="*/ 127458 h 505628"/>
                  <a:gd name="connsiteX2" fmla="*/ 263563 w 367158"/>
                  <a:gd name="connsiteY2" fmla="*/ 470751 h 505628"/>
                  <a:gd name="connsiteX3" fmla="*/ 106233 w 367158"/>
                  <a:gd name="connsiteY3" fmla="*/ 479165 h 505628"/>
                  <a:gd name="connsiteX4" fmla="*/ 2451 w 367158"/>
                  <a:gd name="connsiteY4" fmla="*/ 152703 h 505628"/>
                  <a:gd name="connsiteX0" fmla="*/ 2451 w 367158"/>
                  <a:gd name="connsiteY0" fmla="*/ 152703 h 504512"/>
                  <a:gd name="connsiteX1" fmla="*/ 358929 w 367158"/>
                  <a:gd name="connsiteY1" fmla="*/ 127458 h 504512"/>
                  <a:gd name="connsiteX2" fmla="*/ 263563 w 367158"/>
                  <a:gd name="connsiteY2" fmla="*/ 470751 h 504512"/>
                  <a:gd name="connsiteX3" fmla="*/ 106233 w 367158"/>
                  <a:gd name="connsiteY3" fmla="*/ 479165 h 504512"/>
                  <a:gd name="connsiteX4" fmla="*/ 2451 w 367158"/>
                  <a:gd name="connsiteY4" fmla="*/ 152703 h 504512"/>
                  <a:gd name="connsiteX0" fmla="*/ 2558 w 367265"/>
                  <a:gd name="connsiteY0" fmla="*/ 152703 h 504512"/>
                  <a:gd name="connsiteX1" fmla="*/ 359036 w 367265"/>
                  <a:gd name="connsiteY1" fmla="*/ 127458 h 504512"/>
                  <a:gd name="connsiteX2" fmla="*/ 263670 w 367265"/>
                  <a:gd name="connsiteY2" fmla="*/ 470751 h 504512"/>
                  <a:gd name="connsiteX3" fmla="*/ 106340 w 367265"/>
                  <a:gd name="connsiteY3" fmla="*/ 479165 h 504512"/>
                  <a:gd name="connsiteX4" fmla="*/ 2558 w 367265"/>
                  <a:gd name="connsiteY4" fmla="*/ 152703 h 504512"/>
                  <a:gd name="connsiteX0" fmla="*/ 2018 w 366725"/>
                  <a:gd name="connsiteY0" fmla="*/ 152703 h 504512"/>
                  <a:gd name="connsiteX1" fmla="*/ 358496 w 366725"/>
                  <a:gd name="connsiteY1" fmla="*/ 127458 h 504512"/>
                  <a:gd name="connsiteX2" fmla="*/ 263130 w 366725"/>
                  <a:gd name="connsiteY2" fmla="*/ 470751 h 504512"/>
                  <a:gd name="connsiteX3" fmla="*/ 105800 w 366725"/>
                  <a:gd name="connsiteY3" fmla="*/ 479165 h 504512"/>
                  <a:gd name="connsiteX4" fmla="*/ 2018 w 366725"/>
                  <a:gd name="connsiteY4" fmla="*/ 152703 h 504512"/>
                  <a:gd name="connsiteX0" fmla="*/ 2018 w 366725"/>
                  <a:gd name="connsiteY0" fmla="*/ 152703 h 504512"/>
                  <a:gd name="connsiteX1" fmla="*/ 358496 w 366725"/>
                  <a:gd name="connsiteY1" fmla="*/ 127458 h 504512"/>
                  <a:gd name="connsiteX2" fmla="*/ 263130 w 366725"/>
                  <a:gd name="connsiteY2" fmla="*/ 470751 h 504512"/>
                  <a:gd name="connsiteX3" fmla="*/ 105800 w 366725"/>
                  <a:gd name="connsiteY3" fmla="*/ 479165 h 504512"/>
                  <a:gd name="connsiteX4" fmla="*/ 2018 w 366725"/>
                  <a:gd name="connsiteY4" fmla="*/ 152703 h 504512"/>
                  <a:gd name="connsiteX0" fmla="*/ 2018 w 367498"/>
                  <a:gd name="connsiteY0" fmla="*/ 152703 h 506072"/>
                  <a:gd name="connsiteX1" fmla="*/ 358496 w 367498"/>
                  <a:gd name="connsiteY1" fmla="*/ 127458 h 506072"/>
                  <a:gd name="connsiteX2" fmla="*/ 271544 w 367498"/>
                  <a:gd name="connsiteY2" fmla="*/ 473556 h 506072"/>
                  <a:gd name="connsiteX3" fmla="*/ 105800 w 367498"/>
                  <a:gd name="connsiteY3" fmla="*/ 479165 h 506072"/>
                  <a:gd name="connsiteX4" fmla="*/ 2018 w 367498"/>
                  <a:gd name="connsiteY4" fmla="*/ 152703 h 506072"/>
                  <a:gd name="connsiteX0" fmla="*/ 2018 w 367004"/>
                  <a:gd name="connsiteY0" fmla="*/ 152703 h 506072"/>
                  <a:gd name="connsiteX1" fmla="*/ 358496 w 367004"/>
                  <a:gd name="connsiteY1" fmla="*/ 127458 h 506072"/>
                  <a:gd name="connsiteX2" fmla="*/ 271544 w 367004"/>
                  <a:gd name="connsiteY2" fmla="*/ 473556 h 506072"/>
                  <a:gd name="connsiteX3" fmla="*/ 105800 w 367004"/>
                  <a:gd name="connsiteY3" fmla="*/ 479165 h 506072"/>
                  <a:gd name="connsiteX4" fmla="*/ 2018 w 367004"/>
                  <a:gd name="connsiteY4" fmla="*/ 152703 h 506072"/>
                  <a:gd name="connsiteX0" fmla="*/ 2018 w 367004"/>
                  <a:gd name="connsiteY0" fmla="*/ 152703 h 508676"/>
                  <a:gd name="connsiteX1" fmla="*/ 358496 w 367004"/>
                  <a:gd name="connsiteY1" fmla="*/ 127458 h 508676"/>
                  <a:gd name="connsiteX2" fmla="*/ 271544 w 367004"/>
                  <a:gd name="connsiteY2" fmla="*/ 473556 h 508676"/>
                  <a:gd name="connsiteX3" fmla="*/ 105800 w 367004"/>
                  <a:gd name="connsiteY3" fmla="*/ 479165 h 508676"/>
                  <a:gd name="connsiteX4" fmla="*/ 2018 w 367004"/>
                  <a:gd name="connsiteY4" fmla="*/ 152703 h 508676"/>
                  <a:gd name="connsiteX0" fmla="*/ 2564 w 367550"/>
                  <a:gd name="connsiteY0" fmla="*/ 152703 h 508676"/>
                  <a:gd name="connsiteX1" fmla="*/ 359042 w 367550"/>
                  <a:gd name="connsiteY1" fmla="*/ 127458 h 508676"/>
                  <a:gd name="connsiteX2" fmla="*/ 272090 w 367550"/>
                  <a:gd name="connsiteY2" fmla="*/ 473556 h 508676"/>
                  <a:gd name="connsiteX3" fmla="*/ 106346 w 367550"/>
                  <a:gd name="connsiteY3" fmla="*/ 479165 h 508676"/>
                  <a:gd name="connsiteX4" fmla="*/ 2564 w 367550"/>
                  <a:gd name="connsiteY4" fmla="*/ 152703 h 508676"/>
                  <a:gd name="connsiteX0" fmla="*/ 2564 w 367550"/>
                  <a:gd name="connsiteY0" fmla="*/ 152703 h 506923"/>
                  <a:gd name="connsiteX1" fmla="*/ 359042 w 367550"/>
                  <a:gd name="connsiteY1" fmla="*/ 127458 h 506923"/>
                  <a:gd name="connsiteX2" fmla="*/ 272090 w 367550"/>
                  <a:gd name="connsiteY2" fmla="*/ 473556 h 506923"/>
                  <a:gd name="connsiteX3" fmla="*/ 106346 w 367550"/>
                  <a:gd name="connsiteY3" fmla="*/ 479165 h 506923"/>
                  <a:gd name="connsiteX4" fmla="*/ 2564 w 367550"/>
                  <a:gd name="connsiteY4" fmla="*/ 152703 h 506923"/>
                  <a:gd name="connsiteX0" fmla="*/ 2564 w 369367"/>
                  <a:gd name="connsiteY0" fmla="*/ 152703 h 506923"/>
                  <a:gd name="connsiteX1" fmla="*/ 359042 w 369367"/>
                  <a:gd name="connsiteY1" fmla="*/ 127458 h 506923"/>
                  <a:gd name="connsiteX2" fmla="*/ 272090 w 369367"/>
                  <a:gd name="connsiteY2" fmla="*/ 473556 h 506923"/>
                  <a:gd name="connsiteX3" fmla="*/ 106346 w 369367"/>
                  <a:gd name="connsiteY3" fmla="*/ 479165 h 506923"/>
                  <a:gd name="connsiteX4" fmla="*/ 2564 w 369367"/>
                  <a:gd name="connsiteY4" fmla="*/ 152703 h 50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367" h="506923">
                    <a:moveTo>
                      <a:pt x="2564" y="152703"/>
                    </a:moveTo>
                    <a:cubicBezTo>
                      <a:pt x="34438" y="-45510"/>
                      <a:pt x="299118" y="-47383"/>
                      <a:pt x="359042" y="127458"/>
                    </a:cubicBezTo>
                    <a:cubicBezTo>
                      <a:pt x="395680" y="264019"/>
                      <a:pt x="327253" y="421767"/>
                      <a:pt x="272090" y="473556"/>
                    </a:cubicBezTo>
                    <a:cubicBezTo>
                      <a:pt x="226192" y="525915"/>
                      <a:pt x="133372" y="507837"/>
                      <a:pt x="106346" y="479165"/>
                    </a:cubicBezTo>
                    <a:cubicBezTo>
                      <a:pt x="33274" y="429570"/>
                      <a:pt x="-11460" y="291443"/>
                      <a:pt x="2564" y="152703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" name="Freeform 180"/>
              <p:cNvSpPr/>
              <p:nvPr/>
            </p:nvSpPr>
            <p:spPr>
              <a:xfrm flipH="1">
                <a:off x="5378056" y="2917027"/>
                <a:ext cx="114940" cy="125326"/>
              </a:xfrm>
              <a:custGeom>
                <a:avLst/>
                <a:gdLst>
                  <a:gd name="connsiteX0" fmla="*/ 1105921 w 1183846"/>
                  <a:gd name="connsiteY0" fmla="*/ 0 h 1283864"/>
                  <a:gd name="connsiteX1" fmla="*/ 1183846 w 1183846"/>
                  <a:gd name="connsiteY1" fmla="*/ 77925 h 1283864"/>
                  <a:gd name="connsiteX2" fmla="*/ 1183846 w 1183846"/>
                  <a:gd name="connsiteY2" fmla="*/ 639096 h 1283864"/>
                  <a:gd name="connsiteX3" fmla="*/ 1007581 w 1183846"/>
                  <a:gd name="connsiteY3" fmla="*/ 729972 h 1283864"/>
                  <a:gd name="connsiteX4" fmla="*/ 876323 w 1183846"/>
                  <a:gd name="connsiteY4" fmla="*/ 599888 h 1283864"/>
                  <a:gd name="connsiteX5" fmla="*/ 876441 w 1183846"/>
                  <a:gd name="connsiteY5" fmla="*/ 617551 h 1283864"/>
                  <a:gd name="connsiteX6" fmla="*/ 877090 w 1183846"/>
                  <a:gd name="connsiteY6" fmla="*/ 675608 h 1283864"/>
                  <a:gd name="connsiteX7" fmla="*/ 909714 w 1183846"/>
                  <a:gd name="connsiteY7" fmla="*/ 1283864 h 1283864"/>
                  <a:gd name="connsiteX8" fmla="*/ 312899 w 1183846"/>
                  <a:gd name="connsiteY8" fmla="*/ 1283864 h 1283864"/>
                  <a:gd name="connsiteX9" fmla="*/ 313999 w 1183846"/>
                  <a:gd name="connsiteY9" fmla="*/ 857492 h 1283864"/>
                  <a:gd name="connsiteX10" fmla="*/ 292731 w 1183846"/>
                  <a:gd name="connsiteY10" fmla="*/ 535445 h 1283864"/>
                  <a:gd name="connsiteX11" fmla="*/ 187344 w 1183846"/>
                  <a:gd name="connsiteY11" fmla="*/ 732989 h 1283864"/>
                  <a:gd name="connsiteX12" fmla="*/ 287169 w 1183846"/>
                  <a:gd name="connsiteY12" fmla="*/ 1174812 h 1283864"/>
                  <a:gd name="connsiteX13" fmla="*/ 241820 w 1183846"/>
                  <a:gd name="connsiteY13" fmla="*/ 1250207 h 1283864"/>
                  <a:gd name="connsiteX14" fmla="*/ 198185 w 1183846"/>
                  <a:gd name="connsiteY14" fmla="*/ 1261067 h 1283864"/>
                  <a:gd name="connsiteX15" fmla="*/ 122789 w 1183846"/>
                  <a:gd name="connsiteY15" fmla="*/ 1215719 h 1283864"/>
                  <a:gd name="connsiteX16" fmla="*/ 1856 w 1183846"/>
                  <a:gd name="connsiteY16" fmla="*/ 729753 h 1283864"/>
                  <a:gd name="connsiteX17" fmla="*/ 8914 w 1183846"/>
                  <a:gd name="connsiteY17" fmla="*/ 682663 h 1283864"/>
                  <a:gd name="connsiteX18" fmla="*/ 25477 w 1183846"/>
                  <a:gd name="connsiteY18" fmla="*/ 646635 h 1283864"/>
                  <a:gd name="connsiteX19" fmla="*/ 247032 w 1183846"/>
                  <a:gd name="connsiteY19" fmla="*/ 231336 h 1283864"/>
                  <a:gd name="connsiteX20" fmla="*/ 475215 w 1183846"/>
                  <a:gd name="connsiteY20" fmla="*/ 142432 h 1283864"/>
                  <a:gd name="connsiteX21" fmla="*/ 505349 w 1183846"/>
                  <a:gd name="connsiteY21" fmla="*/ 142077 h 1283864"/>
                  <a:gd name="connsiteX22" fmla="*/ 550680 w 1183846"/>
                  <a:gd name="connsiteY22" fmla="*/ 324368 h 1283864"/>
                  <a:gd name="connsiteX23" fmla="*/ 643965 w 1183846"/>
                  <a:gd name="connsiteY23" fmla="*/ 436473 h 1283864"/>
                  <a:gd name="connsiteX24" fmla="*/ 698114 w 1183846"/>
                  <a:gd name="connsiteY24" fmla="*/ 299299 h 1283864"/>
                  <a:gd name="connsiteX25" fmla="*/ 681082 w 1183846"/>
                  <a:gd name="connsiteY25" fmla="*/ 191983 h 1283864"/>
                  <a:gd name="connsiteX26" fmla="*/ 672484 w 1183846"/>
                  <a:gd name="connsiteY26" fmla="*/ 144810 h 1283864"/>
                  <a:gd name="connsiteX27" fmla="*/ 722262 w 1183846"/>
                  <a:gd name="connsiteY27" fmla="*/ 150761 h 1283864"/>
                  <a:gd name="connsiteX28" fmla="*/ 889198 w 1183846"/>
                  <a:gd name="connsiteY28" fmla="*/ 313116 h 1283864"/>
                  <a:gd name="connsiteX29" fmla="*/ 1027997 w 1183846"/>
                  <a:gd name="connsiteY29" fmla="*/ 482076 h 1283864"/>
                  <a:gd name="connsiteX30" fmla="*/ 1027996 w 1183846"/>
                  <a:gd name="connsiteY30" fmla="*/ 77926 h 1283864"/>
                  <a:gd name="connsiteX31" fmla="*/ 1105921 w 1183846"/>
                  <a:gd name="connsiteY31" fmla="*/ 1 h 1283864"/>
                  <a:gd name="connsiteX0" fmla="*/ 1105921 w 1183846"/>
                  <a:gd name="connsiteY0" fmla="*/ 0 h 1290818"/>
                  <a:gd name="connsiteX1" fmla="*/ 1183846 w 1183846"/>
                  <a:gd name="connsiteY1" fmla="*/ 77925 h 1290818"/>
                  <a:gd name="connsiteX2" fmla="*/ 1183846 w 1183846"/>
                  <a:gd name="connsiteY2" fmla="*/ 639096 h 1290818"/>
                  <a:gd name="connsiteX3" fmla="*/ 1007581 w 1183846"/>
                  <a:gd name="connsiteY3" fmla="*/ 729972 h 1290818"/>
                  <a:gd name="connsiteX4" fmla="*/ 876323 w 1183846"/>
                  <a:gd name="connsiteY4" fmla="*/ 599888 h 1290818"/>
                  <a:gd name="connsiteX5" fmla="*/ 876441 w 1183846"/>
                  <a:gd name="connsiteY5" fmla="*/ 617551 h 1290818"/>
                  <a:gd name="connsiteX6" fmla="*/ 877090 w 1183846"/>
                  <a:gd name="connsiteY6" fmla="*/ 675608 h 1290818"/>
                  <a:gd name="connsiteX7" fmla="*/ 909714 w 1183846"/>
                  <a:gd name="connsiteY7" fmla="*/ 1283864 h 1290818"/>
                  <a:gd name="connsiteX8" fmla="*/ 302468 w 1183846"/>
                  <a:gd name="connsiteY8" fmla="*/ 1290818 h 1290818"/>
                  <a:gd name="connsiteX9" fmla="*/ 313999 w 1183846"/>
                  <a:gd name="connsiteY9" fmla="*/ 857492 h 1290818"/>
                  <a:gd name="connsiteX10" fmla="*/ 292731 w 1183846"/>
                  <a:gd name="connsiteY10" fmla="*/ 535445 h 1290818"/>
                  <a:gd name="connsiteX11" fmla="*/ 187344 w 1183846"/>
                  <a:gd name="connsiteY11" fmla="*/ 732989 h 1290818"/>
                  <a:gd name="connsiteX12" fmla="*/ 287169 w 1183846"/>
                  <a:gd name="connsiteY12" fmla="*/ 1174812 h 1290818"/>
                  <a:gd name="connsiteX13" fmla="*/ 241820 w 1183846"/>
                  <a:gd name="connsiteY13" fmla="*/ 1250207 h 1290818"/>
                  <a:gd name="connsiteX14" fmla="*/ 198185 w 1183846"/>
                  <a:gd name="connsiteY14" fmla="*/ 1261067 h 1290818"/>
                  <a:gd name="connsiteX15" fmla="*/ 122789 w 1183846"/>
                  <a:gd name="connsiteY15" fmla="*/ 1215719 h 1290818"/>
                  <a:gd name="connsiteX16" fmla="*/ 1856 w 1183846"/>
                  <a:gd name="connsiteY16" fmla="*/ 729753 h 1290818"/>
                  <a:gd name="connsiteX17" fmla="*/ 8914 w 1183846"/>
                  <a:gd name="connsiteY17" fmla="*/ 682663 h 1290818"/>
                  <a:gd name="connsiteX18" fmla="*/ 25477 w 1183846"/>
                  <a:gd name="connsiteY18" fmla="*/ 646635 h 1290818"/>
                  <a:gd name="connsiteX19" fmla="*/ 247032 w 1183846"/>
                  <a:gd name="connsiteY19" fmla="*/ 231336 h 1290818"/>
                  <a:gd name="connsiteX20" fmla="*/ 475215 w 1183846"/>
                  <a:gd name="connsiteY20" fmla="*/ 142432 h 1290818"/>
                  <a:gd name="connsiteX21" fmla="*/ 505349 w 1183846"/>
                  <a:gd name="connsiteY21" fmla="*/ 142077 h 1290818"/>
                  <a:gd name="connsiteX22" fmla="*/ 550680 w 1183846"/>
                  <a:gd name="connsiteY22" fmla="*/ 324368 h 1290818"/>
                  <a:gd name="connsiteX23" fmla="*/ 643965 w 1183846"/>
                  <a:gd name="connsiteY23" fmla="*/ 436473 h 1290818"/>
                  <a:gd name="connsiteX24" fmla="*/ 698114 w 1183846"/>
                  <a:gd name="connsiteY24" fmla="*/ 299299 h 1290818"/>
                  <a:gd name="connsiteX25" fmla="*/ 681082 w 1183846"/>
                  <a:gd name="connsiteY25" fmla="*/ 191983 h 1290818"/>
                  <a:gd name="connsiteX26" fmla="*/ 672484 w 1183846"/>
                  <a:gd name="connsiteY26" fmla="*/ 144810 h 1290818"/>
                  <a:gd name="connsiteX27" fmla="*/ 722262 w 1183846"/>
                  <a:gd name="connsiteY27" fmla="*/ 150761 h 1290818"/>
                  <a:gd name="connsiteX28" fmla="*/ 889198 w 1183846"/>
                  <a:gd name="connsiteY28" fmla="*/ 313116 h 1290818"/>
                  <a:gd name="connsiteX29" fmla="*/ 1027997 w 1183846"/>
                  <a:gd name="connsiteY29" fmla="*/ 482076 h 1290818"/>
                  <a:gd name="connsiteX30" fmla="*/ 1027996 w 1183846"/>
                  <a:gd name="connsiteY30" fmla="*/ 77926 h 1290818"/>
                  <a:gd name="connsiteX31" fmla="*/ 1105921 w 1183846"/>
                  <a:gd name="connsiteY31" fmla="*/ 1 h 1290818"/>
                  <a:gd name="connsiteX32" fmla="*/ 1105921 w 1183846"/>
                  <a:gd name="connsiteY32" fmla="*/ 0 h 129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183846" h="1290818">
                    <a:moveTo>
                      <a:pt x="1105921" y="0"/>
                    </a:moveTo>
                    <a:cubicBezTo>
                      <a:pt x="1148958" y="0"/>
                      <a:pt x="1183846" y="34888"/>
                      <a:pt x="1183846" y="77925"/>
                    </a:cubicBezTo>
                    <a:lnTo>
                      <a:pt x="1183846" y="639096"/>
                    </a:lnTo>
                    <a:cubicBezTo>
                      <a:pt x="1183043" y="709670"/>
                      <a:pt x="1095741" y="793376"/>
                      <a:pt x="1007581" y="729972"/>
                    </a:cubicBezTo>
                    <a:lnTo>
                      <a:pt x="876323" y="599888"/>
                    </a:lnTo>
                    <a:cubicBezTo>
                      <a:pt x="876362" y="605776"/>
                      <a:pt x="876402" y="611663"/>
                      <a:pt x="876441" y="617551"/>
                    </a:cubicBezTo>
                    <a:cubicBezTo>
                      <a:pt x="876600" y="635508"/>
                      <a:pt x="876810" y="654721"/>
                      <a:pt x="877090" y="675608"/>
                    </a:cubicBezTo>
                    <a:lnTo>
                      <a:pt x="909714" y="1283864"/>
                    </a:lnTo>
                    <a:cubicBezTo>
                      <a:pt x="710776" y="1283864"/>
                      <a:pt x="501406" y="1290818"/>
                      <a:pt x="302468" y="1290818"/>
                    </a:cubicBezTo>
                    <a:cubicBezTo>
                      <a:pt x="303481" y="1151185"/>
                      <a:pt x="315036" y="1002219"/>
                      <a:pt x="313999" y="857492"/>
                    </a:cubicBezTo>
                    <a:lnTo>
                      <a:pt x="292731" y="535445"/>
                    </a:lnTo>
                    <a:lnTo>
                      <a:pt x="187344" y="732989"/>
                    </a:lnTo>
                    <a:lnTo>
                      <a:pt x="287169" y="1174812"/>
                    </a:lnTo>
                    <a:cubicBezTo>
                      <a:pt x="295466" y="1208155"/>
                      <a:pt x="275163" y="1241911"/>
                      <a:pt x="241820" y="1250207"/>
                    </a:cubicBezTo>
                    <a:lnTo>
                      <a:pt x="198185" y="1261067"/>
                    </a:lnTo>
                    <a:cubicBezTo>
                      <a:pt x="164842" y="1269364"/>
                      <a:pt x="131086" y="1249061"/>
                      <a:pt x="122789" y="1215719"/>
                    </a:cubicBezTo>
                    <a:lnTo>
                      <a:pt x="1856" y="729753"/>
                    </a:lnTo>
                    <a:cubicBezTo>
                      <a:pt x="-2293" y="713082"/>
                      <a:pt x="708" y="696307"/>
                      <a:pt x="8914" y="682663"/>
                    </a:cubicBezTo>
                    <a:lnTo>
                      <a:pt x="25477" y="646635"/>
                    </a:lnTo>
                    <a:lnTo>
                      <a:pt x="247032" y="231336"/>
                    </a:lnTo>
                    <a:cubicBezTo>
                      <a:pt x="312463" y="142540"/>
                      <a:pt x="423823" y="144717"/>
                      <a:pt x="475215" y="142432"/>
                    </a:cubicBezTo>
                    <a:lnTo>
                      <a:pt x="505349" y="142077"/>
                    </a:lnTo>
                    <a:lnTo>
                      <a:pt x="550680" y="324368"/>
                    </a:lnTo>
                    <a:lnTo>
                      <a:pt x="643965" y="436473"/>
                    </a:lnTo>
                    <a:cubicBezTo>
                      <a:pt x="671114" y="371970"/>
                      <a:pt x="683799" y="351954"/>
                      <a:pt x="698114" y="299299"/>
                    </a:cubicBezTo>
                    <a:cubicBezTo>
                      <a:pt x="692223" y="256283"/>
                      <a:pt x="687326" y="226789"/>
                      <a:pt x="681082" y="191983"/>
                    </a:cubicBezTo>
                    <a:lnTo>
                      <a:pt x="672484" y="144810"/>
                    </a:lnTo>
                    <a:lnTo>
                      <a:pt x="722262" y="150761"/>
                    </a:lnTo>
                    <a:cubicBezTo>
                      <a:pt x="812690" y="176826"/>
                      <a:pt x="843004" y="253135"/>
                      <a:pt x="889198" y="313116"/>
                    </a:cubicBezTo>
                    <a:lnTo>
                      <a:pt x="1027997" y="482076"/>
                    </a:lnTo>
                    <a:cubicBezTo>
                      <a:pt x="1027997" y="347359"/>
                      <a:pt x="1027996" y="212643"/>
                      <a:pt x="1027996" y="77926"/>
                    </a:cubicBezTo>
                    <a:cubicBezTo>
                      <a:pt x="1027996" y="34889"/>
                      <a:pt x="1062884" y="1"/>
                      <a:pt x="1105921" y="1"/>
                    </a:cubicBezTo>
                    <a:lnTo>
                      <a:pt x="1105921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" name="Freeform 181"/>
              <p:cNvSpPr/>
              <p:nvPr/>
            </p:nvSpPr>
            <p:spPr>
              <a:xfrm>
                <a:off x="5295480" y="2796131"/>
                <a:ext cx="69317" cy="61713"/>
              </a:xfrm>
              <a:custGeom>
                <a:avLst/>
                <a:gdLst>
                  <a:gd name="connsiteX0" fmla="*/ 0 w 1117077"/>
                  <a:gd name="connsiteY0" fmla="*/ 0 h 994527"/>
                  <a:gd name="connsiteX1" fmla="*/ 1117077 w 1117077"/>
                  <a:gd name="connsiteY1" fmla="*/ 0 h 994527"/>
                  <a:gd name="connsiteX2" fmla="*/ 1117077 w 1117077"/>
                  <a:gd name="connsiteY2" fmla="*/ 292823 h 994527"/>
                  <a:gd name="connsiteX3" fmla="*/ 1034918 w 1117077"/>
                  <a:gd name="connsiteY3" fmla="*/ 292823 h 994527"/>
                  <a:gd name="connsiteX4" fmla="*/ 830478 w 1117077"/>
                  <a:gd name="connsiteY4" fmla="*/ 497263 h 994527"/>
                  <a:gd name="connsiteX5" fmla="*/ 1034918 w 1117077"/>
                  <a:gd name="connsiteY5" fmla="*/ 701703 h 994527"/>
                  <a:gd name="connsiteX6" fmla="*/ 1117077 w 1117077"/>
                  <a:gd name="connsiteY6" fmla="*/ 701703 h 994527"/>
                  <a:gd name="connsiteX7" fmla="*/ 1117077 w 1117077"/>
                  <a:gd name="connsiteY7" fmla="*/ 994527 h 994527"/>
                  <a:gd name="connsiteX8" fmla="*/ 0 w 1117077"/>
                  <a:gd name="connsiteY8" fmla="*/ 994527 h 994527"/>
                  <a:gd name="connsiteX9" fmla="*/ 0 w 1117077"/>
                  <a:gd name="connsiteY9" fmla="*/ 701703 h 994527"/>
                  <a:gd name="connsiteX10" fmla="*/ 87070 w 1117077"/>
                  <a:gd name="connsiteY10" fmla="*/ 701703 h 994527"/>
                  <a:gd name="connsiteX11" fmla="*/ 291510 w 1117077"/>
                  <a:gd name="connsiteY11" fmla="*/ 497263 h 994527"/>
                  <a:gd name="connsiteX12" fmla="*/ 87070 w 1117077"/>
                  <a:gd name="connsiteY12" fmla="*/ 292823 h 994527"/>
                  <a:gd name="connsiteX13" fmla="*/ 0 w 1117077"/>
                  <a:gd name="connsiteY13" fmla="*/ 292823 h 99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7077" h="994527">
                    <a:moveTo>
                      <a:pt x="0" y="0"/>
                    </a:moveTo>
                    <a:lnTo>
                      <a:pt x="1117077" y="0"/>
                    </a:lnTo>
                    <a:lnTo>
                      <a:pt x="1117077" y="292823"/>
                    </a:lnTo>
                    <a:lnTo>
                      <a:pt x="1034918" y="292823"/>
                    </a:lnTo>
                    <a:cubicBezTo>
                      <a:pt x="922009" y="292823"/>
                      <a:pt x="830478" y="384354"/>
                      <a:pt x="830478" y="497263"/>
                    </a:cubicBezTo>
                    <a:cubicBezTo>
                      <a:pt x="830478" y="610172"/>
                      <a:pt x="922009" y="701703"/>
                      <a:pt x="1034918" y="701703"/>
                    </a:cubicBezTo>
                    <a:lnTo>
                      <a:pt x="1117077" y="701703"/>
                    </a:lnTo>
                    <a:lnTo>
                      <a:pt x="1117077" y="994527"/>
                    </a:lnTo>
                    <a:lnTo>
                      <a:pt x="0" y="994527"/>
                    </a:lnTo>
                    <a:lnTo>
                      <a:pt x="0" y="701703"/>
                    </a:lnTo>
                    <a:lnTo>
                      <a:pt x="87070" y="701703"/>
                    </a:lnTo>
                    <a:cubicBezTo>
                      <a:pt x="199979" y="701703"/>
                      <a:pt x="291510" y="610172"/>
                      <a:pt x="291510" y="497263"/>
                    </a:cubicBezTo>
                    <a:cubicBezTo>
                      <a:pt x="291510" y="384354"/>
                      <a:pt x="199979" y="292823"/>
                      <a:pt x="87070" y="292823"/>
                    </a:cubicBezTo>
                    <a:lnTo>
                      <a:pt x="0" y="292823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" name="Freeform 182"/>
              <p:cNvSpPr/>
              <p:nvPr/>
            </p:nvSpPr>
            <p:spPr>
              <a:xfrm>
                <a:off x="5395546" y="2796184"/>
                <a:ext cx="69317" cy="61713"/>
              </a:xfrm>
              <a:custGeom>
                <a:avLst/>
                <a:gdLst>
                  <a:gd name="connsiteX0" fmla="*/ 0 w 1503354"/>
                  <a:gd name="connsiteY0" fmla="*/ 0 h 1338427"/>
                  <a:gd name="connsiteX1" fmla="*/ 480880 w 1503354"/>
                  <a:gd name="connsiteY1" fmla="*/ 0 h 1338427"/>
                  <a:gd name="connsiteX2" fmla="*/ 480880 w 1503354"/>
                  <a:gd name="connsiteY2" fmla="*/ 151893 h 1338427"/>
                  <a:gd name="connsiteX3" fmla="*/ 751678 w 1503354"/>
                  <a:gd name="connsiteY3" fmla="*/ 422691 h 1338427"/>
                  <a:gd name="connsiteX4" fmla="*/ 1022476 w 1503354"/>
                  <a:gd name="connsiteY4" fmla="*/ 151893 h 1338427"/>
                  <a:gd name="connsiteX5" fmla="*/ 1022476 w 1503354"/>
                  <a:gd name="connsiteY5" fmla="*/ 0 h 1338427"/>
                  <a:gd name="connsiteX6" fmla="*/ 1503354 w 1503354"/>
                  <a:gd name="connsiteY6" fmla="*/ 0 h 1338427"/>
                  <a:gd name="connsiteX7" fmla="*/ 1503354 w 1503354"/>
                  <a:gd name="connsiteY7" fmla="*/ 1338427 h 1338427"/>
                  <a:gd name="connsiteX8" fmla="*/ 1022476 w 1503354"/>
                  <a:gd name="connsiteY8" fmla="*/ 1338427 h 1338427"/>
                  <a:gd name="connsiteX9" fmla="*/ 1022476 w 1503354"/>
                  <a:gd name="connsiteY9" fmla="*/ 1110029 h 1338427"/>
                  <a:gd name="connsiteX10" fmla="*/ 751678 w 1503354"/>
                  <a:gd name="connsiteY10" fmla="*/ 839231 h 1338427"/>
                  <a:gd name="connsiteX11" fmla="*/ 480880 w 1503354"/>
                  <a:gd name="connsiteY11" fmla="*/ 1110029 h 1338427"/>
                  <a:gd name="connsiteX12" fmla="*/ 480880 w 1503354"/>
                  <a:gd name="connsiteY12" fmla="*/ 1338427 h 1338427"/>
                  <a:gd name="connsiteX13" fmla="*/ 0 w 1503354"/>
                  <a:gd name="connsiteY13" fmla="*/ 1338427 h 1338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3354" h="1338427">
                    <a:moveTo>
                      <a:pt x="0" y="0"/>
                    </a:moveTo>
                    <a:lnTo>
                      <a:pt x="480880" y="0"/>
                    </a:lnTo>
                    <a:lnTo>
                      <a:pt x="480880" y="151893"/>
                    </a:lnTo>
                    <a:cubicBezTo>
                      <a:pt x="480880" y="301451"/>
                      <a:pt x="602120" y="422691"/>
                      <a:pt x="751678" y="422691"/>
                    </a:cubicBezTo>
                    <a:cubicBezTo>
                      <a:pt x="901236" y="422691"/>
                      <a:pt x="1022476" y="301451"/>
                      <a:pt x="1022476" y="151893"/>
                    </a:cubicBezTo>
                    <a:lnTo>
                      <a:pt x="1022476" y="0"/>
                    </a:lnTo>
                    <a:lnTo>
                      <a:pt x="1503354" y="0"/>
                    </a:lnTo>
                    <a:lnTo>
                      <a:pt x="1503354" y="1338427"/>
                    </a:lnTo>
                    <a:lnTo>
                      <a:pt x="1022476" y="1338427"/>
                    </a:lnTo>
                    <a:lnTo>
                      <a:pt x="1022476" y="1110029"/>
                    </a:lnTo>
                    <a:cubicBezTo>
                      <a:pt x="1022476" y="960471"/>
                      <a:pt x="901236" y="839231"/>
                      <a:pt x="751678" y="839231"/>
                    </a:cubicBezTo>
                    <a:cubicBezTo>
                      <a:pt x="602120" y="839231"/>
                      <a:pt x="480880" y="960471"/>
                      <a:pt x="480880" y="1110029"/>
                    </a:cubicBezTo>
                    <a:lnTo>
                      <a:pt x="480880" y="1338427"/>
                    </a:lnTo>
                    <a:lnTo>
                      <a:pt x="0" y="133842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4" name="TextBox 183"/>
            <p:cNvSpPr txBox="1"/>
            <p:nvPr/>
          </p:nvSpPr>
          <p:spPr>
            <a:xfrm>
              <a:off x="5859673" y="2158855"/>
              <a:ext cx="2393679" cy="474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ills</a:t>
              </a:r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5799287" y="3480362"/>
              <a:ext cx="2385054" cy="474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ence</a:t>
              </a:r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5799287" y="4763069"/>
              <a:ext cx="2454063" cy="474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ucation</a:t>
              </a:r>
            </a:p>
          </p:txBody>
        </p:sp>
        <p:sp>
          <p:nvSpPr>
            <p:cNvPr id="187" name="TextBox 186"/>
            <p:cNvSpPr txBox="1"/>
            <p:nvPr/>
          </p:nvSpPr>
          <p:spPr>
            <a:xfrm>
              <a:off x="8012736" y="1929880"/>
              <a:ext cx="730367" cy="3521663"/>
            </a:xfrm>
            <a:prstGeom prst="rect">
              <a:avLst/>
            </a:prstGeom>
            <a:noFill/>
          </p:spPr>
          <p:txBody>
            <a:bodyPr vert="wordArtVert"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LUES</a:t>
              </a:r>
            </a:p>
          </p:txBody>
        </p:sp>
        <p:sp>
          <p:nvSpPr>
            <p:cNvPr id="188" name="Right Brace 187"/>
            <p:cNvSpPr/>
            <p:nvPr/>
          </p:nvSpPr>
          <p:spPr>
            <a:xfrm>
              <a:off x="7791449" y="2158855"/>
              <a:ext cx="257005" cy="3053478"/>
            </a:xfrm>
            <a:prstGeom prst="rightBrace">
              <a:avLst/>
            </a:prstGeom>
            <a:noFill/>
            <a:ln w="28575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4938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7&quot;&gt;&lt;elem m_fUsage=&quot;2.71000000000000000000E+000&quot;&gt;&lt;m_msothmcolidx val=&quot;0&quot;/&gt;&lt;m_rgb r=&quot;ee&quot; g=&quot;55&quot; b=&quot;b&quot;/&gt;&lt;m_ppcolschidx tagver0=&quot;23004&quot; tagname0=&quot;m_ppcolschidxUNRECOGNIZED&quot; val=&quot;0&quot;/&gt;&lt;m_nBrightness val=&quot;0&quot;/&gt;&lt;/elem&gt;&lt;elem m_fUsage=&quot;1.97559000000000020000E+000&quot;&gt;&lt;m_msothmcolidx val=&quot;0&quot;/&gt;&lt;m_rgb r=&quot;35&quot; g=&quot;87&quot; b=&quot;21&quot;/&gt;&lt;m_ppcolschidx tagver0=&quot;23004&quot; tagname0=&quot;m_ppcolschidxUNRECOGNIZED&quot; val=&quot;0&quot;/&gt;&lt;m_nBrightness val=&quot;0&quot;/&gt;&lt;/elem&gt;&lt;elem m_fUsage=&quot;1.44020511000000020000E+000&quot;&gt;&lt;m_msothmcolidx val=&quot;0&quot;/&gt;&lt;m_rgb r=&quot;b4&quot; g=&quot;9e&quot; b=&quot;c2&quot;/&gt;&lt;m_ppcolschidx tagver0=&quot;23004&quot; tagname0=&quot;m_ppcolschidxUNRECOGNIZED&quot; val=&quot;0&quot;/&gt;&lt;m_nBrightness val=&quot;0&quot;/&gt;&lt;/elem&gt;&lt;elem m_fUsage=&quot;1.04990952519000010000E+000&quot;&gt;&lt;m_msothmcolidx val=&quot;0&quot;/&gt;&lt;m_rgb r=&quot;e2&quot; g=&quot;b1&quot; b=&quot;1d&quot;/&gt;&lt;m_ppcolschidx tagver0=&quot;23004&quot; tagname0=&quot;m_ppcolschidxUNRECOGNIZED&quot; val=&quot;0&quot;/&gt;&lt;m_nBrightness val=&quot;0&quot;/&gt;&lt;/elem&gt;&lt;elem m_fUsage=&quot;7.65384043863510110000E-001&quot;&gt;&lt;m_msothmcolidx val=&quot;0&quot;/&gt;&lt;m_rgb r=&quot;91&quot; g=&quot;40&quot; b=&quot;91&quot;/&gt;&lt;m_ppcolschidx tagver0=&quot;23004&quot; tagname0=&quot;m_ppcolschidxUNRECOGNIZED&quot; val=&quot;0&quot;/&gt;&lt;m_nBrightness val=&quot;0&quot;/&gt;&lt;/elem&gt;&lt;elem m_fUsage=&quot;5.57964967976498970000E-001&quot;&gt;&lt;m_msothmcolidx val=&quot;0&quot;/&gt;&lt;m_rgb r=&quot;ce&quot; g=&quot;c6&quot; b=&quot;d7&quot;/&gt;&lt;m_ppcolschidx tagver0=&quot;23004&quot; tagname0=&quot;m_ppcolschidxUNRECOGNIZED&quot; val=&quot;0&quot;/&gt;&lt;m_nBrightness val=&quot;0&quot;/&gt;&lt;/elem&gt;&lt;elem m_fUsage=&quot;1.50094635296999210000E-001&quot;&gt;&lt;m_msothmcolidx val=&quot;0&quot;/&gt;&lt;m_rgb r=&quot;9f&quot; g=&quot;fd&quot; b=&quot;b7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Sodexo EN 2012">
  <a:themeElements>
    <a:clrScheme name="2012-Sodexo-blue">
      <a:dk1>
        <a:srgbClr val="000000"/>
      </a:dk1>
      <a:lt1>
        <a:srgbClr val="FFFFFF"/>
      </a:lt1>
      <a:dk2>
        <a:srgbClr val="2A295C"/>
      </a:dk2>
      <a:lt2>
        <a:srgbClr val="D3D0C9"/>
      </a:lt2>
      <a:accent1>
        <a:srgbClr val="FF0000"/>
      </a:accent1>
      <a:accent2>
        <a:srgbClr val="55547D"/>
      </a:accent2>
      <a:accent3>
        <a:srgbClr val="FF3333"/>
      </a:accent3>
      <a:accent4>
        <a:srgbClr val="9392B6"/>
      </a:accent4>
      <a:accent5>
        <a:srgbClr val="FF6666"/>
      </a:accent5>
      <a:accent6>
        <a:srgbClr val="B7B6CE"/>
      </a:accent6>
      <a:hlink>
        <a:srgbClr val="55547D"/>
      </a:hlink>
      <a:folHlink>
        <a:srgbClr val="D3D0C9"/>
      </a:folHlink>
    </a:clrScheme>
    <a:fontScheme name="Sodex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odexo EN 2010 1">
        <a:dk1>
          <a:srgbClr val="000000"/>
        </a:dk1>
        <a:lt1>
          <a:srgbClr val="283897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F0037F"/>
        </a:accent2>
        <a:accent3>
          <a:srgbClr val="ACAEC9"/>
        </a:accent3>
        <a:accent4>
          <a:srgbClr val="000000"/>
        </a:accent4>
        <a:accent5>
          <a:srgbClr val="AACDDF"/>
        </a:accent5>
        <a:accent6>
          <a:srgbClr val="D90272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2">
        <a:dk1>
          <a:srgbClr val="000000"/>
        </a:dk1>
        <a:lt1>
          <a:srgbClr val="7994BF"/>
        </a:lt1>
        <a:dk2>
          <a:srgbClr val="283897"/>
        </a:dk2>
        <a:lt2>
          <a:srgbClr val="FFFFFF"/>
        </a:lt2>
        <a:accent1>
          <a:srgbClr val="983998"/>
        </a:accent1>
        <a:accent2>
          <a:srgbClr val="F0037F"/>
        </a:accent2>
        <a:accent3>
          <a:srgbClr val="BEC8DC"/>
        </a:accent3>
        <a:accent4>
          <a:srgbClr val="000000"/>
        </a:accent4>
        <a:accent5>
          <a:srgbClr val="CAAECA"/>
        </a:accent5>
        <a:accent6>
          <a:srgbClr val="D90272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3">
        <a:dk1>
          <a:srgbClr val="000000"/>
        </a:dk1>
        <a:lt1>
          <a:srgbClr val="034865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A6CB12"/>
        </a:accent2>
        <a:accent3>
          <a:srgbClr val="AAB1B8"/>
        </a:accent3>
        <a:accent4>
          <a:srgbClr val="000000"/>
        </a:accent4>
        <a:accent5>
          <a:srgbClr val="AACDDF"/>
        </a:accent5>
        <a:accent6>
          <a:srgbClr val="96B80F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4">
        <a:dk1>
          <a:srgbClr val="000000"/>
        </a:dk1>
        <a:lt1>
          <a:srgbClr val="0B72B5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FFB300"/>
        </a:accent2>
        <a:accent3>
          <a:srgbClr val="AABCD7"/>
        </a:accent3>
        <a:accent4>
          <a:srgbClr val="000000"/>
        </a:accent4>
        <a:accent5>
          <a:srgbClr val="BADAB4"/>
        </a:accent5>
        <a:accent6>
          <a:srgbClr val="E7A200"/>
        </a:accent6>
        <a:hlink>
          <a:srgbClr val="F0037F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5">
        <a:dk1>
          <a:srgbClr val="000000"/>
        </a:dk1>
        <a:lt1>
          <a:srgbClr val="013B2B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FF0000"/>
        </a:accent2>
        <a:accent3>
          <a:srgbClr val="AAAFAC"/>
        </a:accent3>
        <a:accent4>
          <a:srgbClr val="000000"/>
        </a:accent4>
        <a:accent5>
          <a:srgbClr val="BADAB4"/>
        </a:accent5>
        <a:accent6>
          <a:srgbClr val="E70000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6">
        <a:dk1>
          <a:srgbClr val="000000"/>
        </a:dk1>
        <a:lt1>
          <a:srgbClr val="678442"/>
        </a:lt1>
        <a:dk2>
          <a:srgbClr val="283897"/>
        </a:dk2>
        <a:lt2>
          <a:srgbClr val="FFFFFF"/>
        </a:lt2>
        <a:accent1>
          <a:srgbClr val="983998"/>
        </a:accent1>
        <a:accent2>
          <a:srgbClr val="A6CB12"/>
        </a:accent2>
        <a:accent3>
          <a:srgbClr val="B8C2B0"/>
        </a:accent3>
        <a:accent4>
          <a:srgbClr val="000000"/>
        </a:accent4>
        <a:accent5>
          <a:srgbClr val="CAAECA"/>
        </a:accent5>
        <a:accent6>
          <a:srgbClr val="96B80F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7">
        <a:dk1>
          <a:srgbClr val="000000"/>
        </a:dk1>
        <a:lt1>
          <a:srgbClr val="76AC7D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983998"/>
        </a:accent2>
        <a:accent3>
          <a:srgbClr val="BDD2BF"/>
        </a:accent3>
        <a:accent4>
          <a:srgbClr val="000000"/>
        </a:accent4>
        <a:accent5>
          <a:srgbClr val="AACDDF"/>
        </a:accent5>
        <a:accent6>
          <a:srgbClr val="893389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8">
        <a:dk1>
          <a:srgbClr val="000000"/>
        </a:dk1>
        <a:lt1>
          <a:srgbClr val="7B002F"/>
        </a:lt1>
        <a:dk2>
          <a:srgbClr val="283897"/>
        </a:dk2>
        <a:lt2>
          <a:srgbClr val="FFFFFF"/>
        </a:lt2>
        <a:accent1>
          <a:srgbClr val="FF0000"/>
        </a:accent1>
        <a:accent2>
          <a:srgbClr val="FFB300"/>
        </a:accent2>
        <a:accent3>
          <a:srgbClr val="BFAAAD"/>
        </a:accent3>
        <a:accent4>
          <a:srgbClr val="000000"/>
        </a:accent4>
        <a:accent5>
          <a:srgbClr val="FFAAAA"/>
        </a:accent5>
        <a:accent6>
          <a:srgbClr val="E7A200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9">
        <a:dk1>
          <a:srgbClr val="000000"/>
        </a:dk1>
        <a:lt1>
          <a:srgbClr val="B0403C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00A0C6"/>
        </a:accent2>
        <a:accent3>
          <a:srgbClr val="D4AFAF"/>
        </a:accent3>
        <a:accent4>
          <a:srgbClr val="000000"/>
        </a:accent4>
        <a:accent5>
          <a:srgbClr val="BADAB4"/>
        </a:accent5>
        <a:accent6>
          <a:srgbClr val="0091B3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10">
        <a:dk1>
          <a:srgbClr val="000000"/>
        </a:dk1>
        <a:lt1>
          <a:srgbClr val="C876A2"/>
        </a:lt1>
        <a:dk2>
          <a:srgbClr val="283897"/>
        </a:dk2>
        <a:lt2>
          <a:srgbClr val="FFFFFF"/>
        </a:lt2>
        <a:accent1>
          <a:srgbClr val="F0037F"/>
        </a:accent1>
        <a:accent2>
          <a:srgbClr val="6CBC58"/>
        </a:accent2>
        <a:accent3>
          <a:srgbClr val="E0BDCE"/>
        </a:accent3>
        <a:accent4>
          <a:srgbClr val="000000"/>
        </a:accent4>
        <a:accent5>
          <a:srgbClr val="F6AAC0"/>
        </a:accent5>
        <a:accent6>
          <a:srgbClr val="61AA4F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">
      <a:dk1>
        <a:srgbClr val="000000"/>
      </a:dk1>
      <a:lt1>
        <a:srgbClr val="0B3A8B"/>
      </a:lt1>
      <a:dk2>
        <a:srgbClr val="082B6A"/>
      </a:dk2>
      <a:lt2>
        <a:srgbClr val="FFFFFF"/>
      </a:lt2>
      <a:accent1>
        <a:srgbClr val="00A0C6"/>
      </a:accent1>
      <a:accent2>
        <a:srgbClr val="A6CB12"/>
      </a:accent2>
      <a:accent3>
        <a:srgbClr val="AAAEC4"/>
      </a:accent3>
      <a:accent4>
        <a:srgbClr val="000000"/>
      </a:accent4>
      <a:accent5>
        <a:srgbClr val="AACDDF"/>
      </a:accent5>
      <a:accent6>
        <a:srgbClr val="96B80F"/>
      </a:accent6>
      <a:hlink>
        <a:srgbClr val="FF412E"/>
      </a:hlink>
      <a:folHlink>
        <a:srgbClr val="C0C0C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4400" b="0" i="0" u="none" strike="noStrike" cap="none" normalizeH="0" baseline="0">
            <a:ln>
              <a:noFill/>
            </a:ln>
            <a:solidFill>
              <a:srgbClr val="082B6A"/>
            </a:solidFill>
            <a:effectLst/>
            <a:latin typeface="Sodexho" pitchFamily="-107" charset="-18"/>
            <a:ea typeface="Times New Roman" pitchFamily="-107" charset="0"/>
            <a:cs typeface="Times New Roman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4400" b="0" i="0" u="none" strike="noStrike" cap="none" normalizeH="0" baseline="0">
            <a:ln>
              <a:noFill/>
            </a:ln>
            <a:solidFill>
              <a:srgbClr val="082B6A"/>
            </a:solidFill>
            <a:effectLst/>
            <a:latin typeface="Sodexho" pitchFamily="-107" charset="-18"/>
            <a:ea typeface="Times New Roman" pitchFamily="-107" charset="0"/>
            <a:cs typeface="Times New Roman" pitchFamily="-107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808080"/>
        </a:dk1>
        <a:lt1>
          <a:srgbClr val="FFFFFF"/>
        </a:lt1>
        <a:dk2>
          <a:srgbClr val="0B3A8B"/>
        </a:dk2>
        <a:lt2>
          <a:srgbClr val="000000"/>
        </a:lt2>
        <a:accent1>
          <a:srgbClr val="BBE0E3"/>
        </a:accent1>
        <a:accent2>
          <a:srgbClr val="333399"/>
        </a:accent2>
        <a:accent3>
          <a:srgbClr val="AAAEC4"/>
        </a:accent3>
        <a:accent4>
          <a:srgbClr val="DADADA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0B3A8B"/>
        </a:lt1>
        <a:dk2>
          <a:srgbClr val="000000"/>
        </a:dk2>
        <a:lt2>
          <a:srgbClr val="FFFFFF"/>
        </a:lt2>
        <a:accent1>
          <a:srgbClr val="BBE0E3"/>
        </a:accent1>
        <a:accent2>
          <a:srgbClr val="333399"/>
        </a:accent2>
        <a:accent3>
          <a:srgbClr val="AAAEC4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000000"/>
        </a:dk1>
        <a:lt1>
          <a:srgbClr val="0B3A8B"/>
        </a:lt1>
        <a:dk2>
          <a:srgbClr val="082B6A"/>
        </a:dk2>
        <a:lt2>
          <a:srgbClr val="FFFFFF"/>
        </a:lt2>
        <a:accent1>
          <a:srgbClr val="00A0C6"/>
        </a:accent1>
        <a:accent2>
          <a:srgbClr val="333399"/>
        </a:accent2>
        <a:accent3>
          <a:srgbClr val="AAAEC4"/>
        </a:accent3>
        <a:accent4>
          <a:srgbClr val="000000"/>
        </a:accent4>
        <a:accent5>
          <a:srgbClr val="AACDD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6">
        <a:dk1>
          <a:srgbClr val="000000"/>
        </a:dk1>
        <a:lt1>
          <a:srgbClr val="0B3A8B"/>
        </a:lt1>
        <a:dk2>
          <a:srgbClr val="082B6A"/>
        </a:dk2>
        <a:lt2>
          <a:srgbClr val="FFFFFF"/>
        </a:lt2>
        <a:accent1>
          <a:srgbClr val="00A0C6"/>
        </a:accent1>
        <a:accent2>
          <a:srgbClr val="A6CB12"/>
        </a:accent2>
        <a:accent3>
          <a:srgbClr val="AAAEC4"/>
        </a:accent3>
        <a:accent4>
          <a:srgbClr val="000000"/>
        </a:accent4>
        <a:accent5>
          <a:srgbClr val="AACDDF"/>
        </a:accent5>
        <a:accent6>
          <a:srgbClr val="96B80F"/>
        </a:accent6>
        <a:hlink>
          <a:srgbClr val="FF000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Template Sodexo EN 2012">
  <a:themeElements>
    <a:clrScheme name="2012-Sodexo-blue">
      <a:dk1>
        <a:srgbClr val="000000"/>
      </a:dk1>
      <a:lt1>
        <a:srgbClr val="FFFFFF"/>
      </a:lt1>
      <a:dk2>
        <a:srgbClr val="2A295C"/>
      </a:dk2>
      <a:lt2>
        <a:srgbClr val="D3D0C9"/>
      </a:lt2>
      <a:accent1>
        <a:srgbClr val="FF0000"/>
      </a:accent1>
      <a:accent2>
        <a:srgbClr val="55547D"/>
      </a:accent2>
      <a:accent3>
        <a:srgbClr val="FF3333"/>
      </a:accent3>
      <a:accent4>
        <a:srgbClr val="9392B6"/>
      </a:accent4>
      <a:accent5>
        <a:srgbClr val="FF6666"/>
      </a:accent5>
      <a:accent6>
        <a:srgbClr val="B7B6CE"/>
      </a:accent6>
      <a:hlink>
        <a:srgbClr val="55547D"/>
      </a:hlink>
      <a:folHlink>
        <a:srgbClr val="D3D0C9"/>
      </a:folHlink>
    </a:clrScheme>
    <a:fontScheme name="Sodex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odexo EN 2010 1">
        <a:dk1>
          <a:srgbClr val="000000"/>
        </a:dk1>
        <a:lt1>
          <a:srgbClr val="283897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F0037F"/>
        </a:accent2>
        <a:accent3>
          <a:srgbClr val="ACAEC9"/>
        </a:accent3>
        <a:accent4>
          <a:srgbClr val="000000"/>
        </a:accent4>
        <a:accent5>
          <a:srgbClr val="AACDDF"/>
        </a:accent5>
        <a:accent6>
          <a:srgbClr val="D90272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2">
        <a:dk1>
          <a:srgbClr val="000000"/>
        </a:dk1>
        <a:lt1>
          <a:srgbClr val="7994BF"/>
        </a:lt1>
        <a:dk2>
          <a:srgbClr val="283897"/>
        </a:dk2>
        <a:lt2>
          <a:srgbClr val="FFFFFF"/>
        </a:lt2>
        <a:accent1>
          <a:srgbClr val="983998"/>
        </a:accent1>
        <a:accent2>
          <a:srgbClr val="F0037F"/>
        </a:accent2>
        <a:accent3>
          <a:srgbClr val="BEC8DC"/>
        </a:accent3>
        <a:accent4>
          <a:srgbClr val="000000"/>
        </a:accent4>
        <a:accent5>
          <a:srgbClr val="CAAECA"/>
        </a:accent5>
        <a:accent6>
          <a:srgbClr val="D90272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3">
        <a:dk1>
          <a:srgbClr val="000000"/>
        </a:dk1>
        <a:lt1>
          <a:srgbClr val="034865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A6CB12"/>
        </a:accent2>
        <a:accent3>
          <a:srgbClr val="AAB1B8"/>
        </a:accent3>
        <a:accent4>
          <a:srgbClr val="000000"/>
        </a:accent4>
        <a:accent5>
          <a:srgbClr val="AACDDF"/>
        </a:accent5>
        <a:accent6>
          <a:srgbClr val="96B80F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4">
        <a:dk1>
          <a:srgbClr val="000000"/>
        </a:dk1>
        <a:lt1>
          <a:srgbClr val="0B72B5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FFB300"/>
        </a:accent2>
        <a:accent3>
          <a:srgbClr val="AABCD7"/>
        </a:accent3>
        <a:accent4>
          <a:srgbClr val="000000"/>
        </a:accent4>
        <a:accent5>
          <a:srgbClr val="BADAB4"/>
        </a:accent5>
        <a:accent6>
          <a:srgbClr val="E7A200"/>
        </a:accent6>
        <a:hlink>
          <a:srgbClr val="F0037F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5">
        <a:dk1>
          <a:srgbClr val="000000"/>
        </a:dk1>
        <a:lt1>
          <a:srgbClr val="013B2B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FF0000"/>
        </a:accent2>
        <a:accent3>
          <a:srgbClr val="AAAFAC"/>
        </a:accent3>
        <a:accent4>
          <a:srgbClr val="000000"/>
        </a:accent4>
        <a:accent5>
          <a:srgbClr val="BADAB4"/>
        </a:accent5>
        <a:accent6>
          <a:srgbClr val="E70000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6">
        <a:dk1>
          <a:srgbClr val="000000"/>
        </a:dk1>
        <a:lt1>
          <a:srgbClr val="678442"/>
        </a:lt1>
        <a:dk2>
          <a:srgbClr val="283897"/>
        </a:dk2>
        <a:lt2>
          <a:srgbClr val="FFFFFF"/>
        </a:lt2>
        <a:accent1>
          <a:srgbClr val="983998"/>
        </a:accent1>
        <a:accent2>
          <a:srgbClr val="A6CB12"/>
        </a:accent2>
        <a:accent3>
          <a:srgbClr val="B8C2B0"/>
        </a:accent3>
        <a:accent4>
          <a:srgbClr val="000000"/>
        </a:accent4>
        <a:accent5>
          <a:srgbClr val="CAAECA"/>
        </a:accent5>
        <a:accent6>
          <a:srgbClr val="96B80F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7">
        <a:dk1>
          <a:srgbClr val="000000"/>
        </a:dk1>
        <a:lt1>
          <a:srgbClr val="76AC7D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983998"/>
        </a:accent2>
        <a:accent3>
          <a:srgbClr val="BDD2BF"/>
        </a:accent3>
        <a:accent4>
          <a:srgbClr val="000000"/>
        </a:accent4>
        <a:accent5>
          <a:srgbClr val="AACDDF"/>
        </a:accent5>
        <a:accent6>
          <a:srgbClr val="893389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8">
        <a:dk1>
          <a:srgbClr val="000000"/>
        </a:dk1>
        <a:lt1>
          <a:srgbClr val="7B002F"/>
        </a:lt1>
        <a:dk2>
          <a:srgbClr val="283897"/>
        </a:dk2>
        <a:lt2>
          <a:srgbClr val="FFFFFF"/>
        </a:lt2>
        <a:accent1>
          <a:srgbClr val="FF0000"/>
        </a:accent1>
        <a:accent2>
          <a:srgbClr val="FFB300"/>
        </a:accent2>
        <a:accent3>
          <a:srgbClr val="BFAAAD"/>
        </a:accent3>
        <a:accent4>
          <a:srgbClr val="000000"/>
        </a:accent4>
        <a:accent5>
          <a:srgbClr val="FFAAAA"/>
        </a:accent5>
        <a:accent6>
          <a:srgbClr val="E7A200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9">
        <a:dk1>
          <a:srgbClr val="000000"/>
        </a:dk1>
        <a:lt1>
          <a:srgbClr val="B0403C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00A0C6"/>
        </a:accent2>
        <a:accent3>
          <a:srgbClr val="D4AFAF"/>
        </a:accent3>
        <a:accent4>
          <a:srgbClr val="000000"/>
        </a:accent4>
        <a:accent5>
          <a:srgbClr val="BADAB4"/>
        </a:accent5>
        <a:accent6>
          <a:srgbClr val="0091B3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10">
        <a:dk1>
          <a:srgbClr val="000000"/>
        </a:dk1>
        <a:lt1>
          <a:srgbClr val="C876A2"/>
        </a:lt1>
        <a:dk2>
          <a:srgbClr val="283897"/>
        </a:dk2>
        <a:lt2>
          <a:srgbClr val="FFFFFF"/>
        </a:lt2>
        <a:accent1>
          <a:srgbClr val="F0037F"/>
        </a:accent1>
        <a:accent2>
          <a:srgbClr val="6CBC58"/>
        </a:accent2>
        <a:accent3>
          <a:srgbClr val="E0BDCE"/>
        </a:accent3>
        <a:accent4>
          <a:srgbClr val="000000"/>
        </a:accent4>
        <a:accent5>
          <a:srgbClr val="F6AAC0"/>
        </a:accent5>
        <a:accent6>
          <a:srgbClr val="61AA4F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Template Sodexo EN 2012">
  <a:themeElements>
    <a:clrScheme name="2012-Sodexo-blue">
      <a:dk1>
        <a:srgbClr val="000000"/>
      </a:dk1>
      <a:lt1>
        <a:srgbClr val="FFFFFF"/>
      </a:lt1>
      <a:dk2>
        <a:srgbClr val="2A295C"/>
      </a:dk2>
      <a:lt2>
        <a:srgbClr val="D3D0C9"/>
      </a:lt2>
      <a:accent1>
        <a:srgbClr val="FF0000"/>
      </a:accent1>
      <a:accent2>
        <a:srgbClr val="55547D"/>
      </a:accent2>
      <a:accent3>
        <a:srgbClr val="FF3333"/>
      </a:accent3>
      <a:accent4>
        <a:srgbClr val="9392B6"/>
      </a:accent4>
      <a:accent5>
        <a:srgbClr val="FF6666"/>
      </a:accent5>
      <a:accent6>
        <a:srgbClr val="B7B6CE"/>
      </a:accent6>
      <a:hlink>
        <a:srgbClr val="55547D"/>
      </a:hlink>
      <a:folHlink>
        <a:srgbClr val="D3D0C9"/>
      </a:folHlink>
    </a:clrScheme>
    <a:fontScheme name="Sodex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odexo EN 2010 1">
        <a:dk1>
          <a:srgbClr val="000000"/>
        </a:dk1>
        <a:lt1>
          <a:srgbClr val="283897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F0037F"/>
        </a:accent2>
        <a:accent3>
          <a:srgbClr val="ACAEC9"/>
        </a:accent3>
        <a:accent4>
          <a:srgbClr val="000000"/>
        </a:accent4>
        <a:accent5>
          <a:srgbClr val="AACDDF"/>
        </a:accent5>
        <a:accent6>
          <a:srgbClr val="D90272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2">
        <a:dk1>
          <a:srgbClr val="000000"/>
        </a:dk1>
        <a:lt1>
          <a:srgbClr val="7994BF"/>
        </a:lt1>
        <a:dk2>
          <a:srgbClr val="283897"/>
        </a:dk2>
        <a:lt2>
          <a:srgbClr val="FFFFFF"/>
        </a:lt2>
        <a:accent1>
          <a:srgbClr val="983998"/>
        </a:accent1>
        <a:accent2>
          <a:srgbClr val="F0037F"/>
        </a:accent2>
        <a:accent3>
          <a:srgbClr val="BEC8DC"/>
        </a:accent3>
        <a:accent4>
          <a:srgbClr val="000000"/>
        </a:accent4>
        <a:accent5>
          <a:srgbClr val="CAAECA"/>
        </a:accent5>
        <a:accent6>
          <a:srgbClr val="D90272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3">
        <a:dk1>
          <a:srgbClr val="000000"/>
        </a:dk1>
        <a:lt1>
          <a:srgbClr val="034865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A6CB12"/>
        </a:accent2>
        <a:accent3>
          <a:srgbClr val="AAB1B8"/>
        </a:accent3>
        <a:accent4>
          <a:srgbClr val="000000"/>
        </a:accent4>
        <a:accent5>
          <a:srgbClr val="AACDDF"/>
        </a:accent5>
        <a:accent6>
          <a:srgbClr val="96B80F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4">
        <a:dk1>
          <a:srgbClr val="000000"/>
        </a:dk1>
        <a:lt1>
          <a:srgbClr val="0B72B5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FFB300"/>
        </a:accent2>
        <a:accent3>
          <a:srgbClr val="AABCD7"/>
        </a:accent3>
        <a:accent4>
          <a:srgbClr val="000000"/>
        </a:accent4>
        <a:accent5>
          <a:srgbClr val="BADAB4"/>
        </a:accent5>
        <a:accent6>
          <a:srgbClr val="E7A200"/>
        </a:accent6>
        <a:hlink>
          <a:srgbClr val="F0037F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5">
        <a:dk1>
          <a:srgbClr val="000000"/>
        </a:dk1>
        <a:lt1>
          <a:srgbClr val="013B2B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FF0000"/>
        </a:accent2>
        <a:accent3>
          <a:srgbClr val="AAAFAC"/>
        </a:accent3>
        <a:accent4>
          <a:srgbClr val="000000"/>
        </a:accent4>
        <a:accent5>
          <a:srgbClr val="BADAB4"/>
        </a:accent5>
        <a:accent6>
          <a:srgbClr val="E70000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6">
        <a:dk1>
          <a:srgbClr val="000000"/>
        </a:dk1>
        <a:lt1>
          <a:srgbClr val="678442"/>
        </a:lt1>
        <a:dk2>
          <a:srgbClr val="283897"/>
        </a:dk2>
        <a:lt2>
          <a:srgbClr val="FFFFFF"/>
        </a:lt2>
        <a:accent1>
          <a:srgbClr val="983998"/>
        </a:accent1>
        <a:accent2>
          <a:srgbClr val="A6CB12"/>
        </a:accent2>
        <a:accent3>
          <a:srgbClr val="B8C2B0"/>
        </a:accent3>
        <a:accent4>
          <a:srgbClr val="000000"/>
        </a:accent4>
        <a:accent5>
          <a:srgbClr val="CAAECA"/>
        </a:accent5>
        <a:accent6>
          <a:srgbClr val="96B80F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7">
        <a:dk1>
          <a:srgbClr val="000000"/>
        </a:dk1>
        <a:lt1>
          <a:srgbClr val="76AC7D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983998"/>
        </a:accent2>
        <a:accent3>
          <a:srgbClr val="BDD2BF"/>
        </a:accent3>
        <a:accent4>
          <a:srgbClr val="000000"/>
        </a:accent4>
        <a:accent5>
          <a:srgbClr val="AACDDF"/>
        </a:accent5>
        <a:accent6>
          <a:srgbClr val="893389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8">
        <a:dk1>
          <a:srgbClr val="000000"/>
        </a:dk1>
        <a:lt1>
          <a:srgbClr val="7B002F"/>
        </a:lt1>
        <a:dk2>
          <a:srgbClr val="283897"/>
        </a:dk2>
        <a:lt2>
          <a:srgbClr val="FFFFFF"/>
        </a:lt2>
        <a:accent1>
          <a:srgbClr val="FF0000"/>
        </a:accent1>
        <a:accent2>
          <a:srgbClr val="FFB300"/>
        </a:accent2>
        <a:accent3>
          <a:srgbClr val="BFAAAD"/>
        </a:accent3>
        <a:accent4>
          <a:srgbClr val="000000"/>
        </a:accent4>
        <a:accent5>
          <a:srgbClr val="FFAAAA"/>
        </a:accent5>
        <a:accent6>
          <a:srgbClr val="E7A200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9">
        <a:dk1>
          <a:srgbClr val="000000"/>
        </a:dk1>
        <a:lt1>
          <a:srgbClr val="B0403C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00A0C6"/>
        </a:accent2>
        <a:accent3>
          <a:srgbClr val="D4AFAF"/>
        </a:accent3>
        <a:accent4>
          <a:srgbClr val="000000"/>
        </a:accent4>
        <a:accent5>
          <a:srgbClr val="BADAB4"/>
        </a:accent5>
        <a:accent6>
          <a:srgbClr val="0091B3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10">
        <a:dk1>
          <a:srgbClr val="000000"/>
        </a:dk1>
        <a:lt1>
          <a:srgbClr val="C876A2"/>
        </a:lt1>
        <a:dk2>
          <a:srgbClr val="283897"/>
        </a:dk2>
        <a:lt2>
          <a:srgbClr val="FFFFFF"/>
        </a:lt2>
        <a:accent1>
          <a:srgbClr val="F0037F"/>
        </a:accent1>
        <a:accent2>
          <a:srgbClr val="6CBC58"/>
        </a:accent2>
        <a:accent3>
          <a:srgbClr val="E0BDCE"/>
        </a:accent3>
        <a:accent4>
          <a:srgbClr val="000000"/>
        </a:accent4>
        <a:accent5>
          <a:srgbClr val="F6AAC0"/>
        </a:accent5>
        <a:accent6>
          <a:srgbClr val="61AA4F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sodexo">
  <a:themeElements>
    <a:clrScheme name="2012-Sodexo-blue">
      <a:dk1>
        <a:srgbClr val="000000"/>
      </a:dk1>
      <a:lt1>
        <a:srgbClr val="FFFFFF"/>
      </a:lt1>
      <a:dk2>
        <a:srgbClr val="2A295C"/>
      </a:dk2>
      <a:lt2>
        <a:srgbClr val="D3D0C9"/>
      </a:lt2>
      <a:accent1>
        <a:srgbClr val="FF0000"/>
      </a:accent1>
      <a:accent2>
        <a:srgbClr val="55547D"/>
      </a:accent2>
      <a:accent3>
        <a:srgbClr val="FF3333"/>
      </a:accent3>
      <a:accent4>
        <a:srgbClr val="9392B6"/>
      </a:accent4>
      <a:accent5>
        <a:srgbClr val="FF6666"/>
      </a:accent5>
      <a:accent6>
        <a:srgbClr val="B7B6CE"/>
      </a:accent6>
      <a:hlink>
        <a:srgbClr val="55547D"/>
      </a:hlink>
      <a:folHlink>
        <a:srgbClr val="D3D0C9"/>
      </a:folHlink>
    </a:clrScheme>
    <a:fontScheme name="Sodex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odexo EN 2010 1">
        <a:dk1>
          <a:srgbClr val="000000"/>
        </a:dk1>
        <a:lt1>
          <a:srgbClr val="283897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F0037F"/>
        </a:accent2>
        <a:accent3>
          <a:srgbClr val="ACAEC9"/>
        </a:accent3>
        <a:accent4>
          <a:srgbClr val="000000"/>
        </a:accent4>
        <a:accent5>
          <a:srgbClr val="AACDDF"/>
        </a:accent5>
        <a:accent6>
          <a:srgbClr val="D90272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2">
        <a:dk1>
          <a:srgbClr val="000000"/>
        </a:dk1>
        <a:lt1>
          <a:srgbClr val="7994BF"/>
        </a:lt1>
        <a:dk2>
          <a:srgbClr val="283897"/>
        </a:dk2>
        <a:lt2>
          <a:srgbClr val="FFFFFF"/>
        </a:lt2>
        <a:accent1>
          <a:srgbClr val="983998"/>
        </a:accent1>
        <a:accent2>
          <a:srgbClr val="F0037F"/>
        </a:accent2>
        <a:accent3>
          <a:srgbClr val="BEC8DC"/>
        </a:accent3>
        <a:accent4>
          <a:srgbClr val="000000"/>
        </a:accent4>
        <a:accent5>
          <a:srgbClr val="CAAECA"/>
        </a:accent5>
        <a:accent6>
          <a:srgbClr val="D90272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3">
        <a:dk1>
          <a:srgbClr val="000000"/>
        </a:dk1>
        <a:lt1>
          <a:srgbClr val="034865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A6CB12"/>
        </a:accent2>
        <a:accent3>
          <a:srgbClr val="AAB1B8"/>
        </a:accent3>
        <a:accent4>
          <a:srgbClr val="000000"/>
        </a:accent4>
        <a:accent5>
          <a:srgbClr val="AACDDF"/>
        </a:accent5>
        <a:accent6>
          <a:srgbClr val="96B80F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4">
        <a:dk1>
          <a:srgbClr val="000000"/>
        </a:dk1>
        <a:lt1>
          <a:srgbClr val="0B72B5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FFB300"/>
        </a:accent2>
        <a:accent3>
          <a:srgbClr val="AABCD7"/>
        </a:accent3>
        <a:accent4>
          <a:srgbClr val="000000"/>
        </a:accent4>
        <a:accent5>
          <a:srgbClr val="BADAB4"/>
        </a:accent5>
        <a:accent6>
          <a:srgbClr val="E7A200"/>
        </a:accent6>
        <a:hlink>
          <a:srgbClr val="F0037F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5">
        <a:dk1>
          <a:srgbClr val="000000"/>
        </a:dk1>
        <a:lt1>
          <a:srgbClr val="013B2B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FF0000"/>
        </a:accent2>
        <a:accent3>
          <a:srgbClr val="AAAFAC"/>
        </a:accent3>
        <a:accent4>
          <a:srgbClr val="000000"/>
        </a:accent4>
        <a:accent5>
          <a:srgbClr val="BADAB4"/>
        </a:accent5>
        <a:accent6>
          <a:srgbClr val="E70000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6">
        <a:dk1>
          <a:srgbClr val="000000"/>
        </a:dk1>
        <a:lt1>
          <a:srgbClr val="678442"/>
        </a:lt1>
        <a:dk2>
          <a:srgbClr val="283897"/>
        </a:dk2>
        <a:lt2>
          <a:srgbClr val="FFFFFF"/>
        </a:lt2>
        <a:accent1>
          <a:srgbClr val="983998"/>
        </a:accent1>
        <a:accent2>
          <a:srgbClr val="A6CB12"/>
        </a:accent2>
        <a:accent3>
          <a:srgbClr val="B8C2B0"/>
        </a:accent3>
        <a:accent4>
          <a:srgbClr val="000000"/>
        </a:accent4>
        <a:accent5>
          <a:srgbClr val="CAAECA"/>
        </a:accent5>
        <a:accent6>
          <a:srgbClr val="96B80F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7">
        <a:dk1>
          <a:srgbClr val="000000"/>
        </a:dk1>
        <a:lt1>
          <a:srgbClr val="76AC7D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983998"/>
        </a:accent2>
        <a:accent3>
          <a:srgbClr val="BDD2BF"/>
        </a:accent3>
        <a:accent4>
          <a:srgbClr val="000000"/>
        </a:accent4>
        <a:accent5>
          <a:srgbClr val="AACDDF"/>
        </a:accent5>
        <a:accent6>
          <a:srgbClr val="893389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8">
        <a:dk1>
          <a:srgbClr val="000000"/>
        </a:dk1>
        <a:lt1>
          <a:srgbClr val="7B002F"/>
        </a:lt1>
        <a:dk2>
          <a:srgbClr val="283897"/>
        </a:dk2>
        <a:lt2>
          <a:srgbClr val="FFFFFF"/>
        </a:lt2>
        <a:accent1>
          <a:srgbClr val="FF0000"/>
        </a:accent1>
        <a:accent2>
          <a:srgbClr val="FFB300"/>
        </a:accent2>
        <a:accent3>
          <a:srgbClr val="BFAAAD"/>
        </a:accent3>
        <a:accent4>
          <a:srgbClr val="000000"/>
        </a:accent4>
        <a:accent5>
          <a:srgbClr val="FFAAAA"/>
        </a:accent5>
        <a:accent6>
          <a:srgbClr val="E7A200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9">
        <a:dk1>
          <a:srgbClr val="000000"/>
        </a:dk1>
        <a:lt1>
          <a:srgbClr val="B0403C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00A0C6"/>
        </a:accent2>
        <a:accent3>
          <a:srgbClr val="D4AFAF"/>
        </a:accent3>
        <a:accent4>
          <a:srgbClr val="000000"/>
        </a:accent4>
        <a:accent5>
          <a:srgbClr val="BADAB4"/>
        </a:accent5>
        <a:accent6>
          <a:srgbClr val="0091B3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10">
        <a:dk1>
          <a:srgbClr val="000000"/>
        </a:dk1>
        <a:lt1>
          <a:srgbClr val="C876A2"/>
        </a:lt1>
        <a:dk2>
          <a:srgbClr val="283897"/>
        </a:dk2>
        <a:lt2>
          <a:srgbClr val="FFFFFF"/>
        </a:lt2>
        <a:accent1>
          <a:srgbClr val="F0037F"/>
        </a:accent1>
        <a:accent2>
          <a:srgbClr val="6CBC58"/>
        </a:accent2>
        <a:accent3>
          <a:srgbClr val="E0BDCE"/>
        </a:accent3>
        <a:accent4>
          <a:srgbClr val="000000"/>
        </a:accent4>
        <a:accent5>
          <a:srgbClr val="F6AAC0"/>
        </a:accent5>
        <a:accent6>
          <a:srgbClr val="61AA4F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sodexo">
  <a:themeElements>
    <a:clrScheme name="2012-Sodexo-blue">
      <a:dk1>
        <a:srgbClr val="000000"/>
      </a:dk1>
      <a:lt1>
        <a:srgbClr val="FFFFFF"/>
      </a:lt1>
      <a:dk2>
        <a:srgbClr val="2A295C"/>
      </a:dk2>
      <a:lt2>
        <a:srgbClr val="D3D0C9"/>
      </a:lt2>
      <a:accent1>
        <a:srgbClr val="FF0000"/>
      </a:accent1>
      <a:accent2>
        <a:srgbClr val="55547D"/>
      </a:accent2>
      <a:accent3>
        <a:srgbClr val="FF3333"/>
      </a:accent3>
      <a:accent4>
        <a:srgbClr val="9392B6"/>
      </a:accent4>
      <a:accent5>
        <a:srgbClr val="FF6666"/>
      </a:accent5>
      <a:accent6>
        <a:srgbClr val="B7B6CE"/>
      </a:accent6>
      <a:hlink>
        <a:srgbClr val="55547D"/>
      </a:hlink>
      <a:folHlink>
        <a:srgbClr val="D3D0C9"/>
      </a:folHlink>
    </a:clrScheme>
    <a:fontScheme name="Sodex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odexo EN 2010 1">
        <a:dk1>
          <a:srgbClr val="000000"/>
        </a:dk1>
        <a:lt1>
          <a:srgbClr val="283897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F0037F"/>
        </a:accent2>
        <a:accent3>
          <a:srgbClr val="ACAEC9"/>
        </a:accent3>
        <a:accent4>
          <a:srgbClr val="000000"/>
        </a:accent4>
        <a:accent5>
          <a:srgbClr val="AACDDF"/>
        </a:accent5>
        <a:accent6>
          <a:srgbClr val="D90272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2">
        <a:dk1>
          <a:srgbClr val="000000"/>
        </a:dk1>
        <a:lt1>
          <a:srgbClr val="7994BF"/>
        </a:lt1>
        <a:dk2>
          <a:srgbClr val="283897"/>
        </a:dk2>
        <a:lt2>
          <a:srgbClr val="FFFFFF"/>
        </a:lt2>
        <a:accent1>
          <a:srgbClr val="983998"/>
        </a:accent1>
        <a:accent2>
          <a:srgbClr val="F0037F"/>
        </a:accent2>
        <a:accent3>
          <a:srgbClr val="BEC8DC"/>
        </a:accent3>
        <a:accent4>
          <a:srgbClr val="000000"/>
        </a:accent4>
        <a:accent5>
          <a:srgbClr val="CAAECA"/>
        </a:accent5>
        <a:accent6>
          <a:srgbClr val="D90272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3">
        <a:dk1>
          <a:srgbClr val="000000"/>
        </a:dk1>
        <a:lt1>
          <a:srgbClr val="034865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A6CB12"/>
        </a:accent2>
        <a:accent3>
          <a:srgbClr val="AAB1B8"/>
        </a:accent3>
        <a:accent4>
          <a:srgbClr val="000000"/>
        </a:accent4>
        <a:accent5>
          <a:srgbClr val="AACDDF"/>
        </a:accent5>
        <a:accent6>
          <a:srgbClr val="96B80F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4">
        <a:dk1>
          <a:srgbClr val="000000"/>
        </a:dk1>
        <a:lt1>
          <a:srgbClr val="0B72B5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FFB300"/>
        </a:accent2>
        <a:accent3>
          <a:srgbClr val="AABCD7"/>
        </a:accent3>
        <a:accent4>
          <a:srgbClr val="000000"/>
        </a:accent4>
        <a:accent5>
          <a:srgbClr val="BADAB4"/>
        </a:accent5>
        <a:accent6>
          <a:srgbClr val="E7A200"/>
        </a:accent6>
        <a:hlink>
          <a:srgbClr val="F0037F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5">
        <a:dk1>
          <a:srgbClr val="000000"/>
        </a:dk1>
        <a:lt1>
          <a:srgbClr val="013B2B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FF0000"/>
        </a:accent2>
        <a:accent3>
          <a:srgbClr val="AAAFAC"/>
        </a:accent3>
        <a:accent4>
          <a:srgbClr val="000000"/>
        </a:accent4>
        <a:accent5>
          <a:srgbClr val="BADAB4"/>
        </a:accent5>
        <a:accent6>
          <a:srgbClr val="E70000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6">
        <a:dk1>
          <a:srgbClr val="000000"/>
        </a:dk1>
        <a:lt1>
          <a:srgbClr val="678442"/>
        </a:lt1>
        <a:dk2>
          <a:srgbClr val="283897"/>
        </a:dk2>
        <a:lt2>
          <a:srgbClr val="FFFFFF"/>
        </a:lt2>
        <a:accent1>
          <a:srgbClr val="983998"/>
        </a:accent1>
        <a:accent2>
          <a:srgbClr val="A6CB12"/>
        </a:accent2>
        <a:accent3>
          <a:srgbClr val="B8C2B0"/>
        </a:accent3>
        <a:accent4>
          <a:srgbClr val="000000"/>
        </a:accent4>
        <a:accent5>
          <a:srgbClr val="CAAECA"/>
        </a:accent5>
        <a:accent6>
          <a:srgbClr val="96B80F"/>
        </a:accent6>
        <a:hlink>
          <a:srgbClr val="FFB3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7">
        <a:dk1>
          <a:srgbClr val="000000"/>
        </a:dk1>
        <a:lt1>
          <a:srgbClr val="76AC7D"/>
        </a:lt1>
        <a:dk2>
          <a:srgbClr val="283897"/>
        </a:dk2>
        <a:lt2>
          <a:srgbClr val="FFFFFF"/>
        </a:lt2>
        <a:accent1>
          <a:srgbClr val="00A0C6"/>
        </a:accent1>
        <a:accent2>
          <a:srgbClr val="983998"/>
        </a:accent2>
        <a:accent3>
          <a:srgbClr val="BDD2BF"/>
        </a:accent3>
        <a:accent4>
          <a:srgbClr val="000000"/>
        </a:accent4>
        <a:accent5>
          <a:srgbClr val="AACDDF"/>
        </a:accent5>
        <a:accent6>
          <a:srgbClr val="893389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8">
        <a:dk1>
          <a:srgbClr val="000000"/>
        </a:dk1>
        <a:lt1>
          <a:srgbClr val="7B002F"/>
        </a:lt1>
        <a:dk2>
          <a:srgbClr val="283897"/>
        </a:dk2>
        <a:lt2>
          <a:srgbClr val="FFFFFF"/>
        </a:lt2>
        <a:accent1>
          <a:srgbClr val="FF0000"/>
        </a:accent1>
        <a:accent2>
          <a:srgbClr val="FFB300"/>
        </a:accent2>
        <a:accent3>
          <a:srgbClr val="BFAAAD"/>
        </a:accent3>
        <a:accent4>
          <a:srgbClr val="000000"/>
        </a:accent4>
        <a:accent5>
          <a:srgbClr val="FFAAAA"/>
        </a:accent5>
        <a:accent6>
          <a:srgbClr val="E7A200"/>
        </a:accent6>
        <a:hlink>
          <a:srgbClr val="A6CB12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9">
        <a:dk1>
          <a:srgbClr val="000000"/>
        </a:dk1>
        <a:lt1>
          <a:srgbClr val="B0403C"/>
        </a:lt1>
        <a:dk2>
          <a:srgbClr val="283897"/>
        </a:dk2>
        <a:lt2>
          <a:srgbClr val="FFFFFF"/>
        </a:lt2>
        <a:accent1>
          <a:srgbClr val="6CBC58"/>
        </a:accent1>
        <a:accent2>
          <a:srgbClr val="00A0C6"/>
        </a:accent2>
        <a:accent3>
          <a:srgbClr val="D4AFAF"/>
        </a:accent3>
        <a:accent4>
          <a:srgbClr val="000000"/>
        </a:accent4>
        <a:accent5>
          <a:srgbClr val="BADAB4"/>
        </a:accent5>
        <a:accent6>
          <a:srgbClr val="0091B3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dexo EN 2010 10">
        <a:dk1>
          <a:srgbClr val="000000"/>
        </a:dk1>
        <a:lt1>
          <a:srgbClr val="C876A2"/>
        </a:lt1>
        <a:dk2>
          <a:srgbClr val="283897"/>
        </a:dk2>
        <a:lt2>
          <a:srgbClr val="FFFFFF"/>
        </a:lt2>
        <a:accent1>
          <a:srgbClr val="F0037F"/>
        </a:accent1>
        <a:accent2>
          <a:srgbClr val="6CBC58"/>
        </a:accent2>
        <a:accent3>
          <a:srgbClr val="E0BDCE"/>
        </a:accent3>
        <a:accent4>
          <a:srgbClr val="000000"/>
        </a:accent4>
        <a:accent5>
          <a:srgbClr val="F6AAC0"/>
        </a:accent5>
        <a:accent6>
          <a:srgbClr val="61AA4F"/>
        </a:accent6>
        <a:hlink>
          <a:srgbClr val="FFE600"/>
        </a:hlink>
        <a:folHlink>
          <a:srgbClr val="BCC2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Thème Office">
  <a:themeElements>
    <a:clrScheme name="2012-Sodexo">
      <a:dk1>
        <a:srgbClr val="000000"/>
      </a:dk1>
      <a:lt1>
        <a:srgbClr val="FFFFFF"/>
      </a:lt1>
      <a:dk2>
        <a:srgbClr val="2A295C"/>
      </a:dk2>
      <a:lt2>
        <a:srgbClr val="D3D0C9"/>
      </a:lt2>
      <a:accent1>
        <a:srgbClr val="FF0000"/>
      </a:accent1>
      <a:accent2>
        <a:srgbClr val="65676A"/>
      </a:accent2>
      <a:accent3>
        <a:srgbClr val="FF3333"/>
      </a:accent3>
      <a:accent4>
        <a:srgbClr val="848588"/>
      </a:accent4>
      <a:accent5>
        <a:srgbClr val="FF6666"/>
      </a:accent5>
      <a:accent6>
        <a:srgbClr val="A3A4A6"/>
      </a:accent6>
      <a:hlink>
        <a:srgbClr val="55547D"/>
      </a:hlink>
      <a:folHlink>
        <a:srgbClr val="D3D0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970</TotalTime>
  <Words>955</Words>
  <Application>Microsoft Office PowerPoint</Application>
  <PresentationFormat>A4 Paper (210x297 mm)</PresentationFormat>
  <Paragraphs>210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3" baseType="lpstr">
      <vt:lpstr>ＭＳ Ｐゴシック</vt:lpstr>
      <vt:lpstr>ＭＳ Ｐゴシック</vt:lpstr>
      <vt:lpstr>Arial</vt:lpstr>
      <vt:lpstr>Calibri</vt:lpstr>
      <vt:lpstr>Caxton Std Book</vt:lpstr>
      <vt:lpstr>Sodexho</vt:lpstr>
      <vt:lpstr>Times New Roman</vt:lpstr>
      <vt:lpstr>Trebuchet MS</vt:lpstr>
      <vt:lpstr>Wingdings</vt:lpstr>
      <vt:lpstr>Wingdings 3</vt:lpstr>
      <vt:lpstr>Template Sodexo EN 2012</vt:lpstr>
      <vt:lpstr>Custom Design</vt:lpstr>
      <vt:lpstr>1_Template Sodexo EN 2012</vt:lpstr>
      <vt:lpstr>2_Template Sodexo EN 2012</vt:lpstr>
      <vt:lpstr>sodexo</vt:lpstr>
      <vt:lpstr>1_sodexo</vt:lpstr>
      <vt:lpstr>think-cell Slide</vt:lpstr>
      <vt:lpstr>Recruiting, Engaging, and Retaining Tomorrow’s Workforc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CRUITMENT:  FINDING THE RIGHT PEOPLE</vt:lpstr>
      <vt:lpstr>WORKFORCE PLANNING</vt:lpstr>
      <vt:lpstr>PROMOTING YOUR BRAND</vt:lpstr>
      <vt:lpstr>EXPAND YOUR CAPABILITIES</vt:lpstr>
      <vt:lpstr>HIRING THE RIGHT PEOPLE</vt:lpstr>
      <vt:lpstr>RETAINING THE RIGHT PEOPLE BY ENGAGEMENT</vt:lpstr>
      <vt:lpstr>FIRST IMPRESSIONS MATTER</vt:lpstr>
      <vt:lpstr>EMPLOYMENT MOTIVATORS</vt:lpstr>
      <vt:lpstr>PEER MENTOR PROGRAMS</vt:lpstr>
      <vt:lpstr>THE POWER OF STAY INTERVIEWS</vt:lpstr>
      <vt:lpstr>SAMPLE STAY INTERVIEW QUESTIONS</vt:lpstr>
      <vt:lpstr>SUPERVISOR’S IMPACT ON EMPLOYEE ENGAGEMENT</vt:lpstr>
      <vt:lpstr>SUPERVISORS VS. PROGRAMS</vt:lpstr>
      <vt:lpstr>VALUED COMMUNICATION</vt:lpstr>
      <vt:lpstr>WORDS MATTER</vt:lpstr>
      <vt:lpstr>EMBRACE TECHNOLOGY</vt:lpstr>
      <vt:lpstr>MEANINGFUL DIRECTION AND EXPERIENCE</vt:lpstr>
      <vt:lpstr>PowerPoint Presentation</vt:lpstr>
    </vt:vector>
  </TitlesOfParts>
  <Company>SODEX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PENARD Magali</dc:creator>
  <cp:lastModifiedBy>EUCS</cp:lastModifiedBy>
  <cp:revision>3560</cp:revision>
  <cp:lastPrinted>2017-04-04T14:05:53Z</cp:lastPrinted>
  <dcterms:created xsi:type="dcterms:W3CDTF">2012-10-05T09:40:46Z</dcterms:created>
  <dcterms:modified xsi:type="dcterms:W3CDTF">2018-09-19T19:4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751325202</vt:i4>
  </property>
  <property fmtid="{D5CDD505-2E9C-101B-9397-08002B2CF9AE}" pid="3" name="_NewReviewCycle">
    <vt:lpwstr/>
  </property>
  <property fmtid="{D5CDD505-2E9C-101B-9397-08002B2CF9AE}" pid="4" name="_EmailSubject">
    <vt:lpwstr>SPEAKER INFORMATION:  LeadingAge DC Annual Meeting, Action Required</vt:lpwstr>
  </property>
  <property fmtid="{D5CDD505-2E9C-101B-9397-08002B2CF9AE}" pid="5" name="_AuthorEmail">
    <vt:lpwstr>Kathleen.Horvath@sodexo.com</vt:lpwstr>
  </property>
  <property fmtid="{D5CDD505-2E9C-101B-9397-08002B2CF9AE}" pid="6" name="_AuthorEmailDisplayName">
    <vt:lpwstr>Horvath, Kathleen</vt:lpwstr>
  </property>
</Properties>
</file>